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png" ContentType="image/png"/>
  <Default Extension="jpeg" ContentType="image/jpeg"/>
  <Override PartName="/_rels/.rels" ContentType="application/vnd.openxmlformats-package.relationship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_rels/slideMaster1.xml.rels" ContentType="application/vnd.openxmlformats-package.relationships+xml"/>
  <Override PartName="/ppt/slideMasters/_rels/slideMaster2.xml.rels" ContentType="application/vnd.openxmlformats-package.relationships+xml"/>
  <Override PartName="/ppt/theme/theme1.xml" ContentType="application/vnd.openxmlformats-officedocument.theme+xml"/>
  <Override PartName="/ppt/theme/theme2.xml" ContentType="application/vnd.openxmlformats-officedocument.theme+xml"/>
  <Override PartName="/ppt/embeddings/oleObject1.bin" ContentType="application/vnd.openxmlformats-officedocument.oleObject"/>
  <Override PartName="/ppt/media/image45.png" ContentType="image/png"/>
  <Override PartName="/ppt/media/image1.wmf" ContentType="image/x-wmf"/>
  <Override PartName="/ppt/media/image46.png" ContentType="image/png"/>
  <Override PartName="/ppt/media/image2.wmf" ContentType="image/x-wmf"/>
  <Override PartName="/ppt/media/image3.wmf" ContentType="image/x-wmf"/>
  <Override PartName="/ppt/media/image4.wmf" ContentType="image/x-wmf"/>
  <Override PartName="/ppt/media/image49.png" ContentType="image/png"/>
  <Override PartName="/ppt/media/image5.wmf" ContentType="image/x-wmf"/>
  <Override PartName="/ppt/media/image6.wmf" ContentType="image/x-wmf"/>
  <Override PartName="/ppt/media/image8.png" ContentType="image/png"/>
  <Override PartName="/ppt/media/image19.wmf" ContentType="image/x-wmf"/>
  <Override PartName="/ppt/media/image7.wmf" ContentType="image/x-wmf"/>
  <Override PartName="/ppt/media/image9.png" ContentType="image/png"/>
  <Override PartName="/ppt/media/image10.png" ContentType="image/png"/>
  <Override PartName="/ppt/media/image11.wmf" ContentType="image/x-wmf"/>
  <Override PartName="/ppt/media/image12.wmf" ContentType="image/x-wmf"/>
  <Override PartName="/ppt/media/image13.png" ContentType="image/png"/>
  <Override PartName="/ppt/media/image14.png" ContentType="image/png"/>
  <Override PartName="/ppt/media/image15.wmf" ContentType="image/x-wmf"/>
  <Override PartName="/ppt/media/image16.wmf" ContentType="image/x-wmf"/>
  <Override PartName="/ppt/media/image17.png" ContentType="image/png"/>
  <Override PartName="/ppt/media/image18.png" ContentType="image/png"/>
  <Override PartName="/ppt/media/image40.wmf" ContentType="image/x-wmf"/>
  <Override PartName="/ppt/media/image20.wmf" ContentType="image/x-wmf"/>
  <Override PartName="/ppt/media/image21.png" ContentType="image/png"/>
  <Override PartName="/ppt/media/image22.png" ContentType="image/png"/>
  <Override PartName="/ppt/media/image23.wmf" ContentType="image/x-wmf"/>
  <Override PartName="/ppt/media/image24.wmf" ContentType="image/x-wmf"/>
  <Override PartName="/ppt/media/image25.png" ContentType="image/png"/>
  <Override PartName="/ppt/media/image26.png" ContentType="image/png"/>
  <Override PartName="/ppt/media/image27.wmf" ContentType="image/x-wmf"/>
  <Override PartName="/ppt/media/image28.wmf" ContentType="image/x-wmf"/>
  <Override PartName="/ppt/media/image29.png" ContentType="image/png"/>
  <Override PartName="/ppt/media/image51.wmf" ContentType="image/x-wmf"/>
  <Override PartName="/ppt/media/image30.png" ContentType="image/png"/>
  <Override PartName="/ppt/media/image31.wmf" ContentType="image/x-wmf"/>
  <Override PartName="/ppt/media/image32.wmf" ContentType="image/x-wmf"/>
  <Override PartName="/ppt/media/image33.png" ContentType="image/png"/>
  <Override PartName="/ppt/media/image34.png" ContentType="image/png"/>
  <Override PartName="/ppt/media/image35.wmf" ContentType="image/x-wmf"/>
  <Override PartName="/ppt/media/image36.wmf" ContentType="image/x-wmf"/>
  <Override PartName="/ppt/media/image37.png" ContentType="image/png"/>
  <Override PartName="/ppt/media/image38.png" ContentType="image/png"/>
  <Override PartName="/ppt/media/image39.wmf" ContentType="image/x-wmf"/>
  <Override PartName="/ppt/media/image41.png" ContentType="image/png"/>
  <Override PartName="/ppt/media/image42.png" ContentType="image/png"/>
  <Override PartName="/ppt/media/image43.wmf" ContentType="image/x-wmf"/>
  <Override PartName="/ppt/media/image44.wmf" ContentType="image/x-wmf"/>
  <Override PartName="/ppt/media/image47.wmf" ContentType="image/x-wmf"/>
  <Override PartName="/ppt/media/image48.wmf" ContentType="image/x-wmf"/>
  <Override PartName="/ppt/media/image50.png" ContentType="image/png"/>
  <Override PartName="/ppt/media/image52.wmf" ContentType="image/x-wmf"/>
  <Override PartName="/ppt/media/image53.png" ContentType="image/png"/>
  <Override PartName="/ppt/media/image54.png" ContentType="image/png"/>
  <Override PartName="/ppt/media/image55.wmf" ContentType="image/x-wmf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_rels/slideLayout1.xml.rels" ContentType="application/vnd.openxmlformats-package.relationships+xml"/>
  <Override PartName="/ppt/slideLayouts/_rels/slideLayout2.xml.rels" ContentType="application/vnd.openxmlformats-package.relationships+xml"/>
  <Override PartName="/ppt/slideLayouts/_rels/slideLayout3.xml.rels" ContentType="application/vnd.openxmlformats-package.relationships+xml"/>
  <Override PartName="/ppt/slideLayouts/_rels/slideLayout4.xml.rels" ContentType="application/vnd.openxmlformats-package.relationships+xml"/>
  <Override PartName="/ppt/slideLayouts/_rels/slideLayout5.xml.rels" ContentType="application/vnd.openxmlformats-package.relationships+xml"/>
  <Override PartName="/ppt/slideLayouts/_rels/slideLayout6.xml.rels" ContentType="application/vnd.openxmlformats-package.relationships+xml"/>
  <Override PartName="/ppt/slideLayouts/_rels/slideLayout7.xml.rels" ContentType="application/vnd.openxmlformats-package.relationships+xml"/>
  <Override PartName="/ppt/slideLayouts/_rels/slideLayout8.xml.rels" ContentType="application/vnd.openxmlformats-package.relationships+xml"/>
  <Override PartName="/ppt/slideLayouts/_rels/slideLayout9.xml.rels" ContentType="application/vnd.openxmlformats-package.relationships+xml"/>
  <Override PartName="/ppt/slideLayouts/_rels/slideLayout10.xml.rels" ContentType="application/vnd.openxmlformats-package.relationships+xml"/>
  <Override PartName="/ppt/slideLayouts/_rels/slideLayout11.xml.rels" ContentType="application/vnd.openxmlformats-package.relationships+xml"/>
  <Override PartName="/ppt/slideLayouts/_rels/slideLayout12.xml.rels" ContentType="application/vnd.openxmlformats-package.relationships+xml"/>
  <Override PartName="/ppt/slideLayouts/_rels/slideLayout13.xml.rels" ContentType="application/vnd.openxmlformats-package.relationships+xml"/>
  <Override PartName="/ppt/slideLayouts/_rels/slideLayout14.xml.rels" ContentType="application/vnd.openxmlformats-package.relationships+xml"/>
  <Override PartName="/ppt/slideLayouts/_rels/slideLayout15.xml.rels" ContentType="application/vnd.openxmlformats-package.relationships+xml"/>
  <Override PartName="/ppt/slideLayouts/_rels/slideLayout16.xml.rels" ContentType="application/vnd.openxmlformats-package.relationships+xml"/>
  <Override PartName="/ppt/slideLayouts/_rels/slideLayout17.xml.rels" ContentType="application/vnd.openxmlformats-package.relationships+xml"/>
  <Override PartName="/ppt/slideLayouts/_rels/slideLayout18.xml.rels" ContentType="application/vnd.openxmlformats-package.relationships+xml"/>
  <Override PartName="/ppt/slideLayouts/_rels/slideLayout19.xml.rels" ContentType="application/vnd.openxmlformats-package.relationships+xml"/>
  <Override PartName="/ppt/slideLayouts/_rels/slideLayout20.xml.rels" ContentType="application/vnd.openxmlformats-package.relationships+xml"/>
  <Override PartName="/ppt/slideLayouts/_rels/slideLayout21.xml.rels" ContentType="application/vnd.openxmlformats-package.relationships+xml"/>
  <Override PartName="/ppt/slideLayouts/_rels/slideLayout22.xml.rels" ContentType="application/vnd.openxmlformats-package.relationships+xml"/>
  <Override PartName="/ppt/slideLayouts/_rels/slideLayout23.xml.rels" ContentType="application/vnd.openxmlformats-package.relationships+xml"/>
  <Override PartName="/ppt/slideLayouts/_rels/slideLayout24.xml.rels" ContentType="application/vnd.openxmlformats-package.relationship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_rels/slide1.xml.rels" ContentType="application/vnd.openxmlformats-package.relationships+xml"/>
  <Override PartName="/ppt/slides/_rels/slide2.xml.rels" ContentType="application/vnd.openxmlformats-package.relationships+xml"/>
  <Override PartName="/ppt/slides/_rels/slide3.xml.rels" ContentType="application/vnd.openxmlformats-package.relationships+xml"/>
  <Override PartName="/ppt/slides/_rels/slide4.xml.rels" ContentType="application/vnd.openxmlformats-package.relationships+xml"/>
  <Override PartName="/ppt/slides/_rels/slide5.xml.rels" ContentType="application/vnd.openxmlformats-package.relationships+xml"/>
  <Override PartName="/ppt/slides/_rels/slide6.xml.rels" ContentType="application/vnd.openxmlformats-package.relationships+xml"/>
  <Override PartName="/ppt/slides/_rels/slide7.xml.rels" ContentType="application/vnd.openxmlformats-package.relationships+xml"/>
  <Override PartName="/ppt/slides/_rels/slide8.xml.rels" ContentType="application/vnd.openxmlformats-package.relationships+xml"/>
  <Override PartName="/ppt/slides/_rels/slide9.xml.rels" ContentType="application/vnd.openxmlformats-package.relationships+xml"/>
  <Override PartName="/ppt/slides/_rels/slide10.xml.rels" ContentType="application/vnd.openxmlformats-package.relationships+xml"/>
  <Override PartName="/ppt/slides/_rels/slide11.xml.rels" ContentType="application/vnd.openxmlformats-package.relationships+xml"/>
  <Override PartName="/ppt/slides/_rels/slide12.xml.rels" ContentType="application/vnd.openxmlformats-package.relationships+xml"/>
  <Override PartName="/ppt/presProps.xml" ContentType="application/vnd.openxmlformats-officedocument.presentationml.presProps+xml"/>
  <Override PartName="/ppt/_rels/presentation.xml.rels" ContentType="application/vnd.openxmlformats-package.relationships+xml"/>
</Types>
</file>

<file path=_rels/.rels><?xml version="1.0" encoding="UTF-8"?>
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3" Type="http://schemas.openxmlformats.org/officeDocument/2006/relationships/custom-properties" Target="docProps/custom.xml"/><Relationship Id="rId4" Type="http://schemas.openxmlformats.org/officeDocument/2006/relationships/officeDocument" Target="ppt/presentation.xml"/>
</Relationships>
</file>

<file path=ppt/presentation.xml><?xml version="1.0" encoding="utf-8"?>
<p:presentation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sldMasterIdLst>
    <p:sldMasterId id="2147483648" r:id="rId2"/>
    <p:sldMasterId id="2147483661" r:id="rId3"/>
  </p:sld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/>
</p:presentationPr>
</file>

<file path=ppt/_rels/presentation.xml.rels><?xml version="1.0" encoding="UTF-8"?>
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3" Type="http://schemas.openxmlformats.org/officeDocument/2006/relationships/slideMaster" Target="slideMasters/slideMaster2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presProps" Target="presProps.xml"/>
</Relationships>
</file>

<file path=ppt/slideLayouts/_rels/slideLayout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2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slideLayout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51966A39-3913-4310-8B0C-7402CD39B7F3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1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1051524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PlaceHolder 3"/>
          <p:cNvSpPr>
            <a:spLocks noGrp="1"/>
          </p:cNvSpPr>
          <p:nvPr>
            <p:ph/>
          </p:nvPr>
        </p:nvSpPr>
        <p:spPr>
          <a:xfrm>
            <a:off x="838080" y="4098240"/>
            <a:ext cx="1051524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5D0C3E1E-5AC9-4D3E-B978-CECFC8F994DB}" type="slidenum">
              <a:t>&lt;#&gt;</a:t>
            </a:fld>
          </a:p>
        </p:txBody>
      </p:sp>
      <p:sp>
        <p:nvSpPr>
          <p:cNvPr id="7" name="PlaceHolder 6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1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PlaceHolder 3"/>
          <p:cNvSpPr>
            <a:spLocks noGrp="1"/>
          </p:cNvSpPr>
          <p:nvPr>
            <p:ph/>
          </p:nvPr>
        </p:nvSpPr>
        <p:spPr>
          <a:xfrm>
            <a:off x="6226200" y="182556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PlaceHolder 4"/>
          <p:cNvSpPr>
            <a:spLocks noGrp="1"/>
          </p:cNvSpPr>
          <p:nvPr>
            <p:ph/>
          </p:nvPr>
        </p:nvSpPr>
        <p:spPr>
          <a:xfrm>
            <a:off x="838080" y="409824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PlaceHolder 5"/>
          <p:cNvSpPr>
            <a:spLocks noGrp="1"/>
          </p:cNvSpPr>
          <p:nvPr>
            <p:ph/>
          </p:nvPr>
        </p:nvSpPr>
        <p:spPr>
          <a:xfrm>
            <a:off x="6226200" y="409824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8" name="PlaceHolder 7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5D9B640E-B30C-4153-9A0B-404E33318902}" type="slidenum">
              <a:t>&lt;#&gt;</a:t>
            </a:fld>
          </a:p>
        </p:txBody>
      </p:sp>
      <p:sp>
        <p:nvSpPr>
          <p:cNvPr id="9" name="PlaceHolder 8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1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338580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PlaceHolder 3"/>
          <p:cNvSpPr>
            <a:spLocks noGrp="1"/>
          </p:cNvSpPr>
          <p:nvPr>
            <p:ph/>
          </p:nvPr>
        </p:nvSpPr>
        <p:spPr>
          <a:xfrm>
            <a:off x="4393440" y="1825560"/>
            <a:ext cx="338580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PlaceHolder 4"/>
          <p:cNvSpPr>
            <a:spLocks noGrp="1"/>
          </p:cNvSpPr>
          <p:nvPr>
            <p:ph/>
          </p:nvPr>
        </p:nvSpPr>
        <p:spPr>
          <a:xfrm>
            <a:off x="7949160" y="1825560"/>
            <a:ext cx="338580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PlaceHolder 5"/>
          <p:cNvSpPr>
            <a:spLocks noGrp="1"/>
          </p:cNvSpPr>
          <p:nvPr>
            <p:ph/>
          </p:nvPr>
        </p:nvSpPr>
        <p:spPr>
          <a:xfrm>
            <a:off x="838080" y="4098240"/>
            <a:ext cx="338580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PlaceHolder 6"/>
          <p:cNvSpPr>
            <a:spLocks noGrp="1"/>
          </p:cNvSpPr>
          <p:nvPr>
            <p:ph/>
          </p:nvPr>
        </p:nvSpPr>
        <p:spPr>
          <a:xfrm>
            <a:off x="4393440" y="4098240"/>
            <a:ext cx="338580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PlaceHolder 7"/>
          <p:cNvSpPr>
            <a:spLocks noGrp="1"/>
          </p:cNvSpPr>
          <p:nvPr>
            <p:ph/>
          </p:nvPr>
        </p:nvSpPr>
        <p:spPr>
          <a:xfrm>
            <a:off x="7949160" y="4098240"/>
            <a:ext cx="338580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10" name="PlaceHolder 9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8822FE72-0838-4ECF-AE4A-0A90BD347262}" type="slidenum">
              <a:t>&lt;#&gt;</a:t>
            </a:fld>
          </a:p>
        </p:txBody>
      </p:sp>
      <p:sp>
        <p:nvSpPr>
          <p:cNvPr id="11" name="PlaceHolder 10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1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7E05CC41-3635-487C-A72F-DAF7717E7336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1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PlaceHolder 2"/>
          <p:cNvSpPr>
            <a:spLocks noGrp="1"/>
          </p:cNvSpPr>
          <p:nvPr>
            <p:ph type="subTitle"/>
          </p:nvPr>
        </p:nvSpPr>
        <p:spPr>
          <a:xfrm>
            <a:off x="838080" y="1825560"/>
            <a:ext cx="10515240" cy="4350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ru-RU" sz="3200" spc="-1" strike="noStrike">
              <a:latin typeface="XO Orie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D2067CD2-4664-46D9-AC55-7D7BC079FC00}" type="slidenum">
              <a:t>&lt;#&gt;</a:t>
            </a:fld>
          </a:p>
        </p:txBody>
      </p:sp>
      <p:sp>
        <p:nvSpPr>
          <p:cNvPr id="6" name="PlaceHolder 5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1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10515240" cy="4350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23AD008A-0685-4AAA-B96A-158B20F4FA85}" type="slidenum">
              <a:t>&lt;#&gt;</a:t>
            </a:fld>
          </a:p>
        </p:txBody>
      </p:sp>
      <p:sp>
        <p:nvSpPr>
          <p:cNvPr id="6" name="PlaceHolder 5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1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5131080" cy="4350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PlaceHolder 3"/>
          <p:cNvSpPr>
            <a:spLocks noGrp="1"/>
          </p:cNvSpPr>
          <p:nvPr>
            <p:ph/>
          </p:nvPr>
        </p:nvSpPr>
        <p:spPr>
          <a:xfrm>
            <a:off x="6226200" y="1825560"/>
            <a:ext cx="5131080" cy="4350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7F91D471-912D-496F-A806-6B69A3440BC7}" type="slidenum">
              <a:t>&lt;#&gt;</a:t>
            </a:fld>
          </a:p>
        </p:txBody>
      </p:sp>
      <p:sp>
        <p:nvSpPr>
          <p:cNvPr id="7" name="PlaceHolder 6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1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77A2E5BF-0AD7-4BFC-9495-78284EF3EE27}" type="slidenum">
              <a:t>&lt;#&gt;</a:t>
            </a:fld>
          </a:p>
        </p:txBody>
      </p:sp>
      <p:sp>
        <p:nvSpPr>
          <p:cNvPr id="5" name="PlaceHolder 4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1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PlaceHolder 1"/>
          <p:cNvSpPr>
            <a:spLocks noGrp="1"/>
          </p:cNvSpPr>
          <p:nvPr>
            <p:ph type="subTitle"/>
          </p:nvPr>
        </p:nvSpPr>
        <p:spPr>
          <a:xfrm>
            <a:off x="838080" y="365040"/>
            <a:ext cx="10270800" cy="2539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ru-RU" sz="3200" spc="-1" strike="noStrike">
              <a:latin typeface="XO Orie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BE841263-BFB3-47D8-8F3C-3B3434C51170}" type="slidenum">
              <a:t>&lt;#&gt;</a:t>
            </a:fld>
          </a:p>
        </p:txBody>
      </p:sp>
      <p:sp>
        <p:nvSpPr>
          <p:cNvPr id="5" name="PlaceHolder 4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1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PlaceHolder 3"/>
          <p:cNvSpPr>
            <a:spLocks noGrp="1"/>
          </p:cNvSpPr>
          <p:nvPr>
            <p:ph/>
          </p:nvPr>
        </p:nvSpPr>
        <p:spPr>
          <a:xfrm>
            <a:off x="6226200" y="1825560"/>
            <a:ext cx="5131080" cy="4350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PlaceHolder 4"/>
          <p:cNvSpPr>
            <a:spLocks noGrp="1"/>
          </p:cNvSpPr>
          <p:nvPr>
            <p:ph/>
          </p:nvPr>
        </p:nvSpPr>
        <p:spPr>
          <a:xfrm>
            <a:off x="838080" y="409824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2297C322-C3C3-41B8-AF3D-6B68C706062C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PlaceHolder 2"/>
          <p:cNvSpPr>
            <a:spLocks noGrp="1"/>
          </p:cNvSpPr>
          <p:nvPr>
            <p:ph type="subTitle"/>
          </p:nvPr>
        </p:nvSpPr>
        <p:spPr>
          <a:xfrm>
            <a:off x="838080" y="1825560"/>
            <a:ext cx="10515240" cy="4350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ru-RU" sz="3200" spc="-1" strike="noStrike">
              <a:latin typeface="XO Orie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1599900D-1851-4734-B4D4-6EBD7C946D25}" type="slidenum">
              <a:t>&lt;#&gt;</a:t>
            </a:fld>
          </a:p>
        </p:txBody>
      </p:sp>
      <p:sp>
        <p:nvSpPr>
          <p:cNvPr id="6" name="PlaceHolder 5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2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5131080" cy="4350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PlaceHolder 3"/>
          <p:cNvSpPr>
            <a:spLocks noGrp="1"/>
          </p:cNvSpPr>
          <p:nvPr>
            <p:ph/>
          </p:nvPr>
        </p:nvSpPr>
        <p:spPr>
          <a:xfrm>
            <a:off x="6226200" y="182556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PlaceHolder 4"/>
          <p:cNvSpPr>
            <a:spLocks noGrp="1"/>
          </p:cNvSpPr>
          <p:nvPr>
            <p:ph/>
          </p:nvPr>
        </p:nvSpPr>
        <p:spPr>
          <a:xfrm>
            <a:off x="6226200" y="409824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DCDF661C-77BF-4C6F-93A9-F36DBCC10C53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2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PlaceHolder 3"/>
          <p:cNvSpPr>
            <a:spLocks noGrp="1"/>
          </p:cNvSpPr>
          <p:nvPr>
            <p:ph/>
          </p:nvPr>
        </p:nvSpPr>
        <p:spPr>
          <a:xfrm>
            <a:off x="6226200" y="182556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PlaceHolder 4"/>
          <p:cNvSpPr>
            <a:spLocks noGrp="1"/>
          </p:cNvSpPr>
          <p:nvPr>
            <p:ph/>
          </p:nvPr>
        </p:nvSpPr>
        <p:spPr>
          <a:xfrm>
            <a:off x="838080" y="4098240"/>
            <a:ext cx="1051524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5EB224E0-8132-489A-918C-BF9B039CCBAC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2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1051524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PlaceHolder 3"/>
          <p:cNvSpPr>
            <a:spLocks noGrp="1"/>
          </p:cNvSpPr>
          <p:nvPr>
            <p:ph/>
          </p:nvPr>
        </p:nvSpPr>
        <p:spPr>
          <a:xfrm>
            <a:off x="838080" y="4098240"/>
            <a:ext cx="1051524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36847994-7FD4-491B-8454-CB965A955173}" type="slidenum">
              <a:t>&lt;#&gt;</a:t>
            </a:fld>
          </a:p>
        </p:txBody>
      </p:sp>
      <p:sp>
        <p:nvSpPr>
          <p:cNvPr id="7" name="PlaceHolder 6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2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PlaceHolder 3"/>
          <p:cNvSpPr>
            <a:spLocks noGrp="1"/>
          </p:cNvSpPr>
          <p:nvPr>
            <p:ph/>
          </p:nvPr>
        </p:nvSpPr>
        <p:spPr>
          <a:xfrm>
            <a:off x="6226200" y="182556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PlaceHolder 4"/>
          <p:cNvSpPr>
            <a:spLocks noGrp="1"/>
          </p:cNvSpPr>
          <p:nvPr>
            <p:ph/>
          </p:nvPr>
        </p:nvSpPr>
        <p:spPr>
          <a:xfrm>
            <a:off x="838080" y="409824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2" name="PlaceHolder 5"/>
          <p:cNvSpPr>
            <a:spLocks noGrp="1"/>
          </p:cNvSpPr>
          <p:nvPr>
            <p:ph/>
          </p:nvPr>
        </p:nvSpPr>
        <p:spPr>
          <a:xfrm>
            <a:off x="6226200" y="409824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8" name="PlaceHolder 7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E0092C1E-BB8C-4663-8DBF-9D2C448C3E93}" type="slidenum">
              <a:t>&lt;#&gt;</a:t>
            </a:fld>
          </a:p>
        </p:txBody>
      </p:sp>
      <p:sp>
        <p:nvSpPr>
          <p:cNvPr id="9" name="PlaceHolder 8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2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4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338580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" name="PlaceHolder 3"/>
          <p:cNvSpPr>
            <a:spLocks noGrp="1"/>
          </p:cNvSpPr>
          <p:nvPr>
            <p:ph/>
          </p:nvPr>
        </p:nvSpPr>
        <p:spPr>
          <a:xfrm>
            <a:off x="4393440" y="1825560"/>
            <a:ext cx="338580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6" name="PlaceHolder 4"/>
          <p:cNvSpPr>
            <a:spLocks noGrp="1"/>
          </p:cNvSpPr>
          <p:nvPr>
            <p:ph/>
          </p:nvPr>
        </p:nvSpPr>
        <p:spPr>
          <a:xfrm>
            <a:off x="7949160" y="1825560"/>
            <a:ext cx="338580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7" name="PlaceHolder 5"/>
          <p:cNvSpPr>
            <a:spLocks noGrp="1"/>
          </p:cNvSpPr>
          <p:nvPr>
            <p:ph/>
          </p:nvPr>
        </p:nvSpPr>
        <p:spPr>
          <a:xfrm>
            <a:off x="838080" y="4098240"/>
            <a:ext cx="338580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8" name="PlaceHolder 6"/>
          <p:cNvSpPr>
            <a:spLocks noGrp="1"/>
          </p:cNvSpPr>
          <p:nvPr>
            <p:ph/>
          </p:nvPr>
        </p:nvSpPr>
        <p:spPr>
          <a:xfrm>
            <a:off x="4393440" y="4098240"/>
            <a:ext cx="338580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9" name="PlaceHolder 7"/>
          <p:cNvSpPr>
            <a:spLocks noGrp="1"/>
          </p:cNvSpPr>
          <p:nvPr>
            <p:ph/>
          </p:nvPr>
        </p:nvSpPr>
        <p:spPr>
          <a:xfrm>
            <a:off x="7949160" y="4098240"/>
            <a:ext cx="338580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10" name="PlaceHolder 9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56173916-3ED0-412D-8ED6-C465EE628366}" type="slidenum">
              <a:t>&lt;#&gt;</a:t>
            </a:fld>
          </a:p>
        </p:txBody>
      </p:sp>
      <p:sp>
        <p:nvSpPr>
          <p:cNvPr id="11" name="PlaceHolder 10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10515240" cy="4350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A2CA4485-8735-4BA9-BC32-0D109BCA9C18}" type="slidenum">
              <a:t>&lt;#&gt;</a:t>
            </a:fld>
          </a:p>
        </p:txBody>
      </p:sp>
      <p:sp>
        <p:nvSpPr>
          <p:cNvPr id="6" name="PlaceHolder 5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5131080" cy="4350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PlaceHolder 3"/>
          <p:cNvSpPr>
            <a:spLocks noGrp="1"/>
          </p:cNvSpPr>
          <p:nvPr>
            <p:ph/>
          </p:nvPr>
        </p:nvSpPr>
        <p:spPr>
          <a:xfrm>
            <a:off x="6226200" y="1825560"/>
            <a:ext cx="5131080" cy="4350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A3B30FEC-A6A1-45FD-BDFE-943940113EF3}" type="slidenum">
              <a:t>&lt;#&gt;</a:t>
            </a:fld>
          </a:p>
        </p:txBody>
      </p:sp>
      <p:sp>
        <p:nvSpPr>
          <p:cNvPr id="7" name="PlaceHolder 6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EBC1388B-DBD7-40CE-8B39-B37824E11A76}" type="slidenum">
              <a:t>&lt;#&gt;</a:t>
            </a:fld>
          </a:p>
        </p:txBody>
      </p:sp>
      <p:sp>
        <p:nvSpPr>
          <p:cNvPr id="5" name="PlaceHolder 4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ceHolder 1"/>
          <p:cNvSpPr>
            <a:spLocks noGrp="1"/>
          </p:cNvSpPr>
          <p:nvPr>
            <p:ph type="subTitle"/>
          </p:nvPr>
        </p:nvSpPr>
        <p:spPr>
          <a:xfrm>
            <a:off x="838080" y="365040"/>
            <a:ext cx="10270800" cy="2539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ru-RU" sz="3200" spc="-1" strike="noStrike">
              <a:latin typeface="XO Orie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4BB2CC33-73DB-4A96-B8F6-3D967DDF63ED}" type="slidenum">
              <a:t>&lt;#&gt;</a:t>
            </a:fld>
          </a:p>
        </p:txBody>
      </p:sp>
      <p:sp>
        <p:nvSpPr>
          <p:cNvPr id="5" name="PlaceHolder 4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PlaceHolder 3"/>
          <p:cNvSpPr>
            <a:spLocks noGrp="1"/>
          </p:cNvSpPr>
          <p:nvPr>
            <p:ph/>
          </p:nvPr>
        </p:nvSpPr>
        <p:spPr>
          <a:xfrm>
            <a:off x="6226200" y="1825560"/>
            <a:ext cx="5131080" cy="4350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PlaceHolder 4"/>
          <p:cNvSpPr>
            <a:spLocks noGrp="1"/>
          </p:cNvSpPr>
          <p:nvPr>
            <p:ph/>
          </p:nvPr>
        </p:nvSpPr>
        <p:spPr>
          <a:xfrm>
            <a:off x="838080" y="409824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A0209448-8C8C-4074-AD2E-49834F9964BB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5131080" cy="4350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PlaceHolder 3"/>
          <p:cNvSpPr>
            <a:spLocks noGrp="1"/>
          </p:cNvSpPr>
          <p:nvPr>
            <p:ph/>
          </p:nvPr>
        </p:nvSpPr>
        <p:spPr>
          <a:xfrm>
            <a:off x="6226200" y="182556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PlaceHolder 4"/>
          <p:cNvSpPr>
            <a:spLocks noGrp="1"/>
          </p:cNvSpPr>
          <p:nvPr>
            <p:ph/>
          </p:nvPr>
        </p:nvSpPr>
        <p:spPr>
          <a:xfrm>
            <a:off x="6226200" y="409824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DD5C5FCC-2DF7-424B-8B9A-4F5FE14E8396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PlaceHolder 3"/>
          <p:cNvSpPr>
            <a:spLocks noGrp="1"/>
          </p:cNvSpPr>
          <p:nvPr>
            <p:ph/>
          </p:nvPr>
        </p:nvSpPr>
        <p:spPr>
          <a:xfrm>
            <a:off x="6226200" y="1825560"/>
            <a:ext cx="513108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PlaceHolder 4"/>
          <p:cNvSpPr>
            <a:spLocks noGrp="1"/>
          </p:cNvSpPr>
          <p:nvPr>
            <p:ph/>
          </p:nvPr>
        </p:nvSpPr>
        <p:spPr>
          <a:xfrm>
            <a:off x="838080" y="4098240"/>
            <a:ext cx="10515240" cy="2075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46573E0A-7292-4949-A91A-B43692811783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1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Masters/_rels/slideMaster1.xml.rels><?xml version="1.0" encoding="UTF-8"?>
<Relationships xmlns="http://schemas.openxmlformats.org/package/2006/relationships"><Relationship Id="rId1" Type="http://schemas.openxmlformats.org/officeDocument/2006/relationships/theme" Target="../theme/theme1.xml"/><Relationship Id="rId2" Type="http://schemas.openxmlformats.org/officeDocument/2006/relationships/image" Target="../media/image1.wmf"/><Relationship Id="rId3" Type="http://schemas.openxmlformats.org/officeDocument/2006/relationships/oleObject" Target="../embeddings/oleObject1.bin"/><Relationship Id="rId4" Type="http://schemas.openxmlformats.org/officeDocument/2006/relationships/image" Target="../media/image2.wmf"/><Relationship Id="rId5" Type="http://schemas.openxmlformats.org/officeDocument/2006/relationships/image" Target="../media/image3.wmf"/><Relationship Id="rId6" Type="http://schemas.openxmlformats.org/officeDocument/2006/relationships/slideLayout" Target="../slideLayouts/slideLayout1.xml"/><Relationship Id="rId7" Type="http://schemas.openxmlformats.org/officeDocument/2006/relationships/slideLayout" Target="../slideLayouts/slideLayout2.xml"/><Relationship Id="rId8" Type="http://schemas.openxmlformats.org/officeDocument/2006/relationships/slideLayout" Target="../slideLayouts/slideLayout3.xml"/><Relationship Id="rId9" Type="http://schemas.openxmlformats.org/officeDocument/2006/relationships/slideLayout" Target="../slideLayouts/slideLayout4.xml"/><Relationship Id="rId10" Type="http://schemas.openxmlformats.org/officeDocument/2006/relationships/slideLayout" Target="../slideLayouts/slideLayout5.xml"/><Relationship Id="rId11" Type="http://schemas.openxmlformats.org/officeDocument/2006/relationships/slideLayout" Target="../slideLayouts/slideLayout6.xml"/><Relationship Id="rId12" Type="http://schemas.openxmlformats.org/officeDocument/2006/relationships/slideLayout" Target="../slideLayouts/slideLayout7.xml"/><Relationship Id="rId13" Type="http://schemas.openxmlformats.org/officeDocument/2006/relationships/slideLayout" Target="../slideLayouts/slideLayout8.xml"/><Relationship Id="rId14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11.xml"/><Relationship Id="rId17" Type="http://schemas.openxmlformats.org/officeDocument/2006/relationships/slideLayout" Target="../slideLayouts/slideLayout12.xml"/>
</Relationships>
</file>

<file path=ppt/slideMasters/_rels/slideMaster2.xml.rels><?xml version="1.0" encoding="UTF-8"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image" Target="../media/image4.wmf"/><Relationship Id="rId3" Type="http://schemas.openxmlformats.org/officeDocument/2006/relationships/oleObject" Target="../embeddings/oleObject1.bin"/><Relationship Id="rId4" Type="http://schemas.openxmlformats.org/officeDocument/2006/relationships/image" Target="../media/image5.wmf"/><Relationship Id="rId5" Type="http://schemas.openxmlformats.org/officeDocument/2006/relationships/image" Target="../media/image6.wmf"/><Relationship Id="rId6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4.xml"/><Relationship Id="rId8" Type="http://schemas.openxmlformats.org/officeDocument/2006/relationships/slideLayout" Target="../slideLayouts/slideLayout15.xml"/><Relationship Id="rId9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4.xml"/>
</Relationships>
</file>

<file path=ppt/slideMasters/slideMaster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0" name="" descr=""/>
          <p:cNvPicPr/>
          <p:nvPr/>
        </p:nvPicPr>
        <p:blipFill>
          <a:blip r:embed="rId2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" name="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p:oleObj progId="TCLayout.ActiveDocument.1" r:id="rId3" spid="">
              <p:embed/>
              <p:pic>
                <p:nvPicPr>
                  <p:cNvPr id="2" name="" descr=""/>
                  <p:cNvPicPr/>
                  <p:nvPr/>
                </p:nvPicPr>
                <p:blipFill>
                  <a:blip r:embed="rId4"/>
                  <a:stretch/>
                </p:blipFill>
                <p:spPr>
                  <a:xfrm>
                    <a:off x="1440" y="1440"/>
                    <a:ext cx="1080" cy="108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3" name="PlaceHolder 1"/>
          <p:cNvSpPr>
            <a:spLocks noGrp="1"/>
          </p:cNvSpPr>
          <p:nvPr>
            <p:ph type="title"/>
          </p:nvPr>
        </p:nvSpPr>
        <p:spPr>
          <a:xfrm>
            <a:off x="1523880" y="1122480"/>
            <a:ext cx="9143640" cy="238716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rmAutofit fontScale="91000"/>
          </a:bodyPr>
          <a:p>
            <a:r>
              <a:rPr b="0" lang="ru-RU" sz="60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60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2"/>
          <p:cNvSpPr>
            <a:spLocks noGrp="1"/>
          </p:cNvSpPr>
          <p:nvPr>
            <p:ph type="dt" idx="1"/>
          </p:nvPr>
        </p:nvSpPr>
        <p:spPr>
          <a:xfrm>
            <a:off x="838080" y="6356520"/>
            <a:ext cx="2742840" cy="364680"/>
          </a:xfrm>
          <a:prstGeom prst="rect">
            <a:avLst/>
          </a:prstGeom>
          <a:noFill/>
          <a:ln w="0">
            <a:noFill/>
          </a:ln>
        </p:spPr>
        <p:txBody>
          <a:bodyPr anchor="ctr">
            <a:noAutofit/>
          </a:bodyPr>
          <a:lstStyle>
            <a:lvl1pPr>
              <a:defRPr b="0" lang="ru-RU" sz="1400" spc="-1" strike="noStrike">
                <a:latin typeface="Times New Roman"/>
              </a:defRPr>
            </a:lvl1pPr>
          </a:lstStyle>
          <a:p>
            <a:r>
              <a:rPr b="0" lang="ru-RU" sz="1400" spc="-1" strike="noStrike">
                <a:latin typeface="Times New Roman"/>
              </a:rPr>
              <a:t>&lt;дата/время&gt;</a:t>
            </a:r>
            <a:endParaRPr b="0" lang="ru-RU" sz="1400" spc="-1" strike="noStrike">
              <a:latin typeface="Times New Roman"/>
            </a:endParaRPr>
          </a:p>
        </p:txBody>
      </p:sp>
      <p:sp>
        <p:nvSpPr>
          <p:cNvPr id="5" name="PlaceHolder 3"/>
          <p:cNvSpPr>
            <a:spLocks noGrp="1"/>
          </p:cNvSpPr>
          <p:nvPr>
            <p:ph type="ftr" idx="2"/>
          </p:nvPr>
        </p:nvSpPr>
        <p:spPr>
          <a:xfrm>
            <a:off x="4038480" y="6356520"/>
            <a:ext cx="4114440" cy="364680"/>
          </a:xfrm>
          <a:prstGeom prst="rect">
            <a:avLst/>
          </a:prstGeom>
          <a:noFill/>
          <a:ln w="0">
            <a:noFill/>
          </a:ln>
        </p:spPr>
        <p:txBody>
          <a:bodyPr anchor="ctr">
            <a:noAutofit/>
          </a:bodyPr>
          <a:lstStyle>
            <a:lvl1pPr algn="ctr">
              <a:buNone/>
              <a:defRPr b="0" lang="ru-RU" sz="1400" spc="-1" strike="noStrike">
                <a:latin typeface="Times New Roman"/>
              </a:defRPr>
            </a:lvl1pPr>
          </a:lstStyle>
          <a:p>
            <a:pPr algn="ctr">
              <a:buNone/>
            </a:pPr>
            <a:r>
              <a:rPr b="0" lang="ru-RU" sz="1400" spc="-1" strike="noStrike">
                <a:latin typeface="Times New Roman"/>
              </a:rPr>
              <a:t>&lt;нижний колонтитул&gt;</a:t>
            </a:r>
            <a:endParaRPr b="0" lang="ru-RU" sz="1400" spc="-1" strike="noStrike">
              <a:latin typeface="Times New Roman"/>
            </a:endParaRPr>
          </a:p>
        </p:txBody>
      </p:sp>
      <p:sp>
        <p:nvSpPr>
          <p:cNvPr id="6" name="PlaceHolder 4"/>
          <p:cNvSpPr>
            <a:spLocks noGrp="1"/>
          </p:cNvSpPr>
          <p:nvPr>
            <p:ph type="sldNum" idx="3"/>
          </p:nvPr>
        </p:nvSpPr>
        <p:spPr>
          <a:xfrm>
            <a:off x="8610480" y="6356520"/>
            <a:ext cx="2742840" cy="364680"/>
          </a:xfrm>
          <a:prstGeom prst="rect">
            <a:avLst/>
          </a:prstGeom>
          <a:noFill/>
          <a:ln w="0">
            <a:noFill/>
          </a:ln>
        </p:spPr>
        <p:txBody>
          <a:bodyPr anchor="ctr">
            <a:noAutofit/>
          </a:bodyPr>
          <a:lstStyle>
            <a:lvl1pPr algn="r">
              <a:lnSpc>
                <a:spcPct val="100000"/>
              </a:lnSpc>
              <a:buNone/>
              <a:tabLst>
                <a:tab algn="l" pos="0"/>
              </a:tabLst>
              <a:defRPr b="0" lang="ru-RU" sz="1200" spc="-1" strike="noStrike">
                <a:solidFill>
                  <a:srgbClr val="888888"/>
                </a:solidFill>
                <a:latin typeface="Arial"/>
                <a:ea typeface="Arial"/>
              </a:defRPr>
            </a:lvl1pPr>
          </a:lstStyle>
          <a:p>
            <a:pPr algn="r">
              <a:lnSpc>
                <a:spcPct val="100000"/>
              </a:lnSpc>
              <a:buNone/>
              <a:tabLst>
                <a:tab algn="l" pos="0"/>
              </a:tabLst>
            </a:pPr>
            <a:fld id="{497B1BD9-3894-45E1-8983-DB760EFB653E}" type="slidenum">
              <a:rPr b="0" lang="ru-RU" sz="1200" spc="-1" strike="noStrike">
                <a:solidFill>
                  <a:srgbClr val="888888"/>
                </a:solidFill>
                <a:latin typeface="Arial"/>
                <a:ea typeface="Arial"/>
              </a:rPr>
              <a:t>&lt;номер&gt;</a:t>
            </a:fld>
            <a:endParaRPr b="0" lang="ru-RU" sz="1200" spc="-1" strike="noStrike">
              <a:latin typeface="Times New Roman"/>
            </a:endParaRPr>
          </a:p>
        </p:txBody>
      </p:sp>
      <p:pic>
        <p:nvPicPr>
          <p:cNvPr id="7" name="" descr="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8" name="PlaceHolder 5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14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14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14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14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14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49" r:id="rId6"/>
    <p:sldLayoutId id="2147483650" r:id="rId7"/>
    <p:sldLayoutId id="2147483651" r:id="rId8"/>
    <p:sldLayoutId id="2147483652" r:id="rId9"/>
    <p:sldLayoutId id="2147483653" r:id="rId10"/>
    <p:sldLayoutId id="2147483654" r:id="rId11"/>
    <p:sldLayoutId id="2147483655" r:id="rId12"/>
    <p:sldLayoutId id="2147483656" r:id="rId13"/>
    <p:sldLayoutId id="2147483657" r:id="rId14"/>
    <p:sldLayoutId id="2147483658" r:id="rId15"/>
    <p:sldLayoutId id="2147483659" r:id="rId16"/>
    <p:sldLayoutId id="2147483660" r:id="rId17"/>
  </p:sldLayoutIdLst>
</p:sldMaster>
</file>

<file path=ppt/slideMasters/slideMaster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" descr=""/>
          <p:cNvPicPr/>
          <p:nvPr/>
        </p:nvPicPr>
        <p:blipFill>
          <a:blip r:embed="rId2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6" name="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p:oleObj progId="TCLayout.ActiveDocument.1" r:id="rId3" spid="">
              <p:embed/>
              <p:pic>
                <p:nvPicPr>
                  <p:cNvPr id="47" name="" descr=""/>
                  <p:cNvPicPr/>
                  <p:nvPr/>
                </p:nvPicPr>
                <p:blipFill>
                  <a:blip r:embed="rId4"/>
                  <a:stretch/>
                </p:blipFill>
                <p:spPr>
                  <a:xfrm>
                    <a:off x="1440" y="1440"/>
                    <a:ext cx="1080" cy="108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8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270800" cy="54756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rmAutofit fontScale="67000"/>
          </a:bodyPr>
          <a:p>
            <a:r>
              <a:rPr b="0" lang="ru-RU" sz="44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44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PlaceHolder 2"/>
          <p:cNvSpPr>
            <a:spLocks noGrp="1"/>
          </p:cNvSpPr>
          <p:nvPr>
            <p:ph type="body"/>
          </p:nvPr>
        </p:nvSpPr>
        <p:spPr>
          <a:xfrm>
            <a:off x="838080" y="1825560"/>
            <a:ext cx="10515240" cy="435096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8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PlaceHolder 3"/>
          <p:cNvSpPr>
            <a:spLocks noGrp="1"/>
          </p:cNvSpPr>
          <p:nvPr>
            <p:ph type="dt" idx="4"/>
          </p:nvPr>
        </p:nvSpPr>
        <p:spPr>
          <a:xfrm>
            <a:off x="838080" y="6356520"/>
            <a:ext cx="2742840" cy="364680"/>
          </a:xfrm>
          <a:prstGeom prst="rect">
            <a:avLst/>
          </a:prstGeom>
          <a:noFill/>
          <a:ln w="0">
            <a:noFill/>
          </a:ln>
        </p:spPr>
        <p:txBody>
          <a:bodyPr anchor="ctr">
            <a:noAutofit/>
          </a:bodyPr>
          <a:lstStyle>
            <a:lvl1pPr>
              <a:defRPr b="0" lang="ru-RU" sz="1400" spc="-1" strike="noStrike">
                <a:latin typeface="Times New Roman"/>
              </a:defRPr>
            </a:lvl1pPr>
          </a:lstStyle>
          <a:p>
            <a:r>
              <a:rPr b="0" lang="ru-RU" sz="1400" spc="-1" strike="noStrike">
                <a:latin typeface="Times New Roman"/>
              </a:rPr>
              <a:t>&lt;дата/время&gt;</a:t>
            </a:r>
            <a:endParaRPr b="0" lang="ru-RU" sz="1400" spc="-1" strike="noStrike">
              <a:latin typeface="Times New Roman"/>
            </a:endParaRPr>
          </a:p>
        </p:txBody>
      </p:sp>
      <p:sp>
        <p:nvSpPr>
          <p:cNvPr id="51" name="PlaceHolder 4"/>
          <p:cNvSpPr>
            <a:spLocks noGrp="1"/>
          </p:cNvSpPr>
          <p:nvPr>
            <p:ph type="ftr" idx="5"/>
          </p:nvPr>
        </p:nvSpPr>
        <p:spPr>
          <a:xfrm>
            <a:off x="4038480" y="6356520"/>
            <a:ext cx="4114440" cy="364680"/>
          </a:xfrm>
          <a:prstGeom prst="rect">
            <a:avLst/>
          </a:prstGeom>
          <a:noFill/>
          <a:ln w="0">
            <a:noFill/>
          </a:ln>
        </p:spPr>
        <p:txBody>
          <a:bodyPr anchor="ctr">
            <a:noAutofit/>
          </a:bodyPr>
          <a:lstStyle>
            <a:lvl1pPr algn="ctr">
              <a:buNone/>
              <a:defRPr b="0" lang="ru-RU" sz="1400" spc="-1" strike="noStrike">
                <a:latin typeface="Times New Roman"/>
              </a:defRPr>
            </a:lvl1pPr>
          </a:lstStyle>
          <a:p>
            <a:pPr algn="ctr">
              <a:buNone/>
            </a:pPr>
            <a:r>
              <a:rPr b="0" lang="ru-RU" sz="1400" spc="-1" strike="noStrike">
                <a:latin typeface="Times New Roman"/>
              </a:rPr>
              <a:t>&lt;нижний колонтитул&gt;</a:t>
            </a:r>
            <a:endParaRPr b="0" lang="ru-RU" sz="1400" spc="-1" strike="noStrike">
              <a:latin typeface="Times New Roman"/>
            </a:endParaRPr>
          </a:p>
        </p:txBody>
      </p:sp>
      <p:sp>
        <p:nvSpPr>
          <p:cNvPr id="52" name="PlaceHolder 5"/>
          <p:cNvSpPr>
            <a:spLocks noGrp="1"/>
          </p:cNvSpPr>
          <p:nvPr>
            <p:ph type="sldNum" idx="6"/>
          </p:nvPr>
        </p:nvSpPr>
        <p:spPr>
          <a:xfrm>
            <a:off x="8610480" y="6356520"/>
            <a:ext cx="2742840" cy="364680"/>
          </a:xfrm>
          <a:prstGeom prst="rect">
            <a:avLst/>
          </a:prstGeom>
          <a:noFill/>
          <a:ln w="0">
            <a:noFill/>
          </a:ln>
        </p:spPr>
        <p:txBody>
          <a:bodyPr anchor="ctr">
            <a:noAutofit/>
          </a:bodyPr>
          <a:lstStyle>
            <a:lvl1pPr algn="r">
              <a:lnSpc>
                <a:spcPct val="100000"/>
              </a:lnSpc>
              <a:buNone/>
              <a:tabLst>
                <a:tab algn="l" pos="0"/>
              </a:tabLst>
              <a:defRPr b="0" lang="ru-RU" sz="1200" spc="-1" strike="noStrike">
                <a:solidFill>
                  <a:srgbClr val="888888"/>
                </a:solidFill>
                <a:latin typeface="Arial"/>
                <a:ea typeface="Arial"/>
              </a:defRPr>
            </a:lvl1pPr>
          </a:lstStyle>
          <a:p>
            <a:pPr algn="r">
              <a:lnSpc>
                <a:spcPct val="100000"/>
              </a:lnSpc>
              <a:buNone/>
              <a:tabLst>
                <a:tab algn="l" pos="0"/>
              </a:tabLst>
            </a:pPr>
            <a:fld id="{18FB9587-78E9-447A-8D75-F5A6190418B3}" type="slidenum">
              <a:rPr b="0" lang="ru-RU" sz="1200" spc="-1" strike="noStrike">
                <a:solidFill>
                  <a:srgbClr val="888888"/>
                </a:solidFill>
                <a:latin typeface="Arial"/>
                <a:ea typeface="Arial"/>
              </a:rPr>
              <a:t>&lt;номер&gt;</a:t>
            </a:fld>
            <a:endParaRPr b="0" lang="ru-RU" sz="1200" spc="-1" strike="noStrike">
              <a:latin typeface="Times New Roman"/>
            </a:endParaRPr>
          </a:p>
        </p:txBody>
      </p:sp>
      <p:pic>
        <p:nvPicPr>
          <p:cNvPr id="53" name="" descr="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 bg1="lt1" bg2="lt2" tx1="dk1" tx2="dk2" accent1="accent1" accent2="accent2" accent3="accent3" accent4="accent4" accent5="accent5" accent6="accent6" hlink="hlink" folHlink="folHlink"/>
  <p:sldLayoutIdLst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  <p:sldLayoutId id="2147483672" r:id="rId16"/>
    <p:sldLayoutId id="2147483673" r:id="rId17"/>
  </p:sldLayoutIdLst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7.wmf"/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6" Type="http://schemas.openxmlformats.org/officeDocument/2006/relationships/image" Target="../media/image11.wmf"/><Relationship Id="rId7" Type="http://schemas.openxmlformats.org/officeDocument/2006/relationships/slideLayout" Target="../slideLayouts/slideLayout2.xml"/>
</Relationships>
</file>

<file path=ppt/slides/_rels/slide10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44.wmf"/><Relationship Id="rId3" Type="http://schemas.openxmlformats.org/officeDocument/2006/relationships/image" Target="../media/image45.png"/><Relationship Id="rId4" Type="http://schemas.openxmlformats.org/officeDocument/2006/relationships/image" Target="../media/image46.png"/><Relationship Id="rId5" Type="http://schemas.openxmlformats.org/officeDocument/2006/relationships/image" Target="../media/image47.wmf"/><Relationship Id="rId6" Type="http://schemas.openxmlformats.org/officeDocument/2006/relationships/slideLayout" Target="../slideLayouts/slideLayout13.xml"/>
</Relationships>
</file>

<file path=ppt/slides/_rels/slide11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48.wmf"/><Relationship Id="rId3" Type="http://schemas.openxmlformats.org/officeDocument/2006/relationships/image" Target="../media/image49.png"/><Relationship Id="rId4" Type="http://schemas.openxmlformats.org/officeDocument/2006/relationships/image" Target="../media/image50.png"/><Relationship Id="rId5" Type="http://schemas.openxmlformats.org/officeDocument/2006/relationships/image" Target="../media/image51.wmf"/><Relationship Id="rId6" Type="http://schemas.openxmlformats.org/officeDocument/2006/relationships/slideLayout" Target="../slideLayouts/slideLayout13.xml"/>
</Relationships>
</file>

<file path=ppt/slides/_rels/slide12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52.wmf"/><Relationship Id="rId3" Type="http://schemas.openxmlformats.org/officeDocument/2006/relationships/image" Target="../media/image53.png"/><Relationship Id="rId4" Type="http://schemas.openxmlformats.org/officeDocument/2006/relationships/image" Target="../media/image54.png"/><Relationship Id="rId5" Type="http://schemas.openxmlformats.org/officeDocument/2006/relationships/image" Target="../media/image55.wmf"/><Relationship Id="rId6" Type="http://schemas.openxmlformats.org/officeDocument/2006/relationships/slideLayout" Target="../slideLayouts/slideLayout13.xml"/>
</Relationships>
</file>

<file path=ppt/slides/_rels/slide2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2.wmf"/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5" Type="http://schemas.openxmlformats.org/officeDocument/2006/relationships/image" Target="../media/image15.wmf"/><Relationship Id="rId6" Type="http://schemas.openxmlformats.org/officeDocument/2006/relationships/slideLayout" Target="../slideLayouts/slideLayout13.xml"/>
</Relationships>
</file>

<file path=ppt/slides/_rels/slide3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16.wmf"/><Relationship Id="rId3" Type="http://schemas.openxmlformats.org/officeDocument/2006/relationships/image" Target="../media/image17.png"/><Relationship Id="rId4" Type="http://schemas.openxmlformats.org/officeDocument/2006/relationships/image" Target="../media/image18.png"/><Relationship Id="rId5" Type="http://schemas.openxmlformats.org/officeDocument/2006/relationships/image" Target="../media/image19.wmf"/><Relationship Id="rId6" Type="http://schemas.openxmlformats.org/officeDocument/2006/relationships/slideLayout" Target="../slideLayouts/slideLayout13.xml"/>
</Relationships>
</file>

<file path=ppt/slides/_rels/slide4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20.wmf"/><Relationship Id="rId3" Type="http://schemas.openxmlformats.org/officeDocument/2006/relationships/image" Target="../media/image21.png"/><Relationship Id="rId4" Type="http://schemas.openxmlformats.org/officeDocument/2006/relationships/image" Target="../media/image22.png"/><Relationship Id="rId5" Type="http://schemas.openxmlformats.org/officeDocument/2006/relationships/image" Target="../media/image23.wmf"/><Relationship Id="rId6" Type="http://schemas.openxmlformats.org/officeDocument/2006/relationships/slideLayout" Target="../slideLayouts/slideLayout13.xml"/>
</Relationships>
</file>

<file path=ppt/slides/_rels/slide5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24.wmf"/><Relationship Id="rId3" Type="http://schemas.openxmlformats.org/officeDocument/2006/relationships/image" Target="../media/image25.png"/><Relationship Id="rId4" Type="http://schemas.openxmlformats.org/officeDocument/2006/relationships/image" Target="../media/image26.png"/><Relationship Id="rId5" Type="http://schemas.openxmlformats.org/officeDocument/2006/relationships/image" Target="../media/image27.wmf"/><Relationship Id="rId6" Type="http://schemas.openxmlformats.org/officeDocument/2006/relationships/slideLayout" Target="../slideLayouts/slideLayout13.xml"/>
</Relationships>
</file>

<file path=ppt/slides/_rels/slide6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28.wmf"/><Relationship Id="rId3" Type="http://schemas.openxmlformats.org/officeDocument/2006/relationships/image" Target="../media/image29.png"/><Relationship Id="rId4" Type="http://schemas.openxmlformats.org/officeDocument/2006/relationships/image" Target="../media/image30.png"/><Relationship Id="rId5" Type="http://schemas.openxmlformats.org/officeDocument/2006/relationships/image" Target="../media/image31.wmf"/><Relationship Id="rId6" Type="http://schemas.openxmlformats.org/officeDocument/2006/relationships/slideLayout" Target="../slideLayouts/slideLayout13.xml"/>
</Relationships>
</file>

<file path=ppt/slides/_rels/slide7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32.wmf"/><Relationship Id="rId3" Type="http://schemas.openxmlformats.org/officeDocument/2006/relationships/image" Target="../media/image33.png"/><Relationship Id="rId4" Type="http://schemas.openxmlformats.org/officeDocument/2006/relationships/image" Target="../media/image34.png"/><Relationship Id="rId5" Type="http://schemas.openxmlformats.org/officeDocument/2006/relationships/image" Target="../media/image35.wmf"/><Relationship Id="rId6" Type="http://schemas.openxmlformats.org/officeDocument/2006/relationships/slideLayout" Target="../slideLayouts/slideLayout13.xml"/>
</Relationships>
</file>

<file path=ppt/slides/_rels/slide8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36.wmf"/><Relationship Id="rId3" Type="http://schemas.openxmlformats.org/officeDocument/2006/relationships/image" Target="../media/image37.png"/><Relationship Id="rId4" Type="http://schemas.openxmlformats.org/officeDocument/2006/relationships/image" Target="../media/image38.png"/><Relationship Id="rId5" Type="http://schemas.openxmlformats.org/officeDocument/2006/relationships/image" Target="../media/image39.wmf"/><Relationship Id="rId6" Type="http://schemas.openxmlformats.org/officeDocument/2006/relationships/slideLayout" Target="../slideLayouts/slideLayout13.xml"/>
</Relationships>
</file>

<file path=ppt/slides/_rels/slide9.xml.rels><?xml version="1.0" encoding="UTF-8"?>
<Relationships xmlns="http://schemas.openxmlformats.org/package/2006/relationships"><Relationship Id="rId1" Type="http://schemas.openxmlformats.org/officeDocument/2006/relationships/oleObject" Target="../embeddings/oleObject1.bin"/><Relationship Id="rId2" Type="http://schemas.openxmlformats.org/officeDocument/2006/relationships/image" Target="../media/image40.wmf"/><Relationship Id="rId3" Type="http://schemas.openxmlformats.org/officeDocument/2006/relationships/image" Target="../media/image41.png"/><Relationship Id="rId4" Type="http://schemas.openxmlformats.org/officeDocument/2006/relationships/image" Target="../media/image42.png"/><Relationship Id="rId5" Type="http://schemas.openxmlformats.org/officeDocument/2006/relationships/image" Target="../media/image43.wmf"/><Relationship Id="rId6" Type="http://schemas.openxmlformats.org/officeDocument/2006/relationships/slideLayout" Target="../slideLayouts/slideLayout13.xml"/>
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0" name="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91" name="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1080" cy="108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92" name="PlaceHolder 1"/>
          <p:cNvSpPr>
            <a:spLocks noGrp="1"/>
          </p:cNvSpPr>
          <p:nvPr>
            <p:ph type="title"/>
          </p:nvPr>
        </p:nvSpPr>
        <p:spPr>
          <a:xfrm>
            <a:off x="1497600" y="2117880"/>
            <a:ext cx="9143640" cy="180504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p>
            <a:pPr algn="ctr">
              <a:lnSpc>
                <a:spcPct val="100000"/>
              </a:lnSpc>
              <a:buNone/>
            </a:pPr>
            <a:r>
              <a:rPr b="1" lang="ru-RU" sz="2800" spc="-1" strike="noStrike" cap="all">
                <a:solidFill>
                  <a:srgbClr val="33a1d8"/>
                </a:solidFill>
                <a:latin typeface="Gilroy Light"/>
                <a:ea typeface="Gilroy Light"/>
              </a:rPr>
              <a:t>Развитие сельскохозяйственной кредитной потребительской кооперации - повышение благосостояния сельского населения</a:t>
            </a:r>
            <a:endParaRPr b="0" lang="ru-RU" sz="28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93" name="Изображение" descr="Изображение"/>
          <p:cNvPicPr/>
          <p:nvPr/>
        </p:nvPicPr>
        <p:blipFill>
          <a:blip r:embed="rId3"/>
          <a:stretch/>
        </p:blipFill>
        <p:spPr>
          <a:xfrm>
            <a:off x="20104920" y="889920"/>
            <a:ext cx="3717360" cy="1417320"/>
          </a:xfrm>
          <a:prstGeom prst="rect">
            <a:avLst/>
          </a:prstGeom>
          <a:ln w="12700">
            <a:noFill/>
          </a:ln>
        </p:spPr>
      </p:pic>
      <p:pic>
        <p:nvPicPr>
          <p:cNvPr id="94" name="Изображение" descr="Изображение"/>
          <p:cNvPicPr/>
          <p:nvPr/>
        </p:nvPicPr>
        <p:blipFill>
          <a:blip r:embed="rId4"/>
          <a:stretch/>
        </p:blipFill>
        <p:spPr>
          <a:xfrm>
            <a:off x="9838800" y="254520"/>
            <a:ext cx="2045880" cy="779760"/>
          </a:xfrm>
          <a:prstGeom prst="rect">
            <a:avLst/>
          </a:prstGeom>
          <a:ln w="12700">
            <a:noFill/>
          </a:ln>
        </p:spPr>
      </p:pic>
      <p:pic>
        <p:nvPicPr>
          <p:cNvPr id="95" name="Изображение" descr="Изображение"/>
          <p:cNvPicPr/>
          <p:nvPr/>
        </p:nvPicPr>
        <p:blipFill>
          <a:blip r:embed="rId5"/>
          <a:stretch/>
        </p:blipFill>
        <p:spPr>
          <a:xfrm>
            <a:off x="405000" y="6178320"/>
            <a:ext cx="3444840" cy="471960"/>
          </a:xfrm>
          <a:prstGeom prst="rect">
            <a:avLst/>
          </a:prstGeom>
          <a:ln w="12700">
            <a:noFill/>
          </a:ln>
        </p:spPr>
      </p:pic>
      <p:sp>
        <p:nvSpPr>
          <p:cNvPr id="96" name="Google Shape;300;p21"/>
          <p:cNvSpPr/>
          <p:nvPr/>
        </p:nvSpPr>
        <p:spPr>
          <a:xfrm>
            <a:off x="4611240" y="6363720"/>
            <a:ext cx="3425400" cy="243720"/>
          </a:xfrm>
          <a:prstGeom prst="rect">
            <a:avLst/>
          </a:prstGeom>
          <a:noFill/>
          <a:ln w="1270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600" spc="-1" strike="noStrike">
                <a:solidFill>
                  <a:srgbClr val="a6a6a6"/>
                </a:solidFill>
                <a:latin typeface="Gilroy Light"/>
                <a:ea typeface="Gilroy Light"/>
              </a:rPr>
              <a:t>#страну_меняют_люди</a:t>
            </a:r>
            <a:endParaRPr b="0" lang="ru-RU" sz="1600" spc="-1" strike="noStrike">
              <a:latin typeface="XO Oriel"/>
            </a:endParaRPr>
          </a:p>
        </p:txBody>
      </p:sp>
      <p:pic>
        <p:nvPicPr>
          <p:cNvPr id="97" name="" descr=""/>
          <p:cNvPicPr/>
          <p:nvPr/>
        </p:nvPicPr>
        <p:blipFill>
          <a:blip r:embed="rId6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1" name="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182" name="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1080" cy="108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83" name="PlaceHolder 1"/>
          <p:cNvSpPr>
            <a:spLocks noGrp="1"/>
          </p:cNvSpPr>
          <p:nvPr>
            <p:ph type="title"/>
          </p:nvPr>
        </p:nvSpPr>
        <p:spPr>
          <a:xfrm>
            <a:off x="335880" y="451800"/>
            <a:ext cx="10150920" cy="72576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4800" spc="-1" strike="noStrike" cap="all">
                <a:solidFill>
                  <a:srgbClr val="33a1d8"/>
                </a:solidFill>
                <a:latin typeface="Gilroy Light"/>
                <a:ea typeface="Gilroy Light"/>
              </a:rPr>
              <a:t>Меры Поддержки</a:t>
            </a:r>
            <a:endParaRPr b="0" lang="ru-RU" sz="4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4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10515240" cy="435096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rmAutofit/>
          </a:bodyPr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85" name="Изображение" descr="Изображение"/>
          <p:cNvPicPr/>
          <p:nvPr/>
        </p:nvPicPr>
        <p:blipFill>
          <a:blip r:embed="rId3"/>
          <a:stretch/>
        </p:blipFill>
        <p:spPr>
          <a:xfrm>
            <a:off x="9809640" y="424800"/>
            <a:ext cx="2045880" cy="779760"/>
          </a:xfrm>
          <a:prstGeom prst="rect">
            <a:avLst/>
          </a:prstGeom>
          <a:ln w="12700">
            <a:noFill/>
          </a:ln>
        </p:spPr>
      </p:pic>
      <p:pic>
        <p:nvPicPr>
          <p:cNvPr id="186" name="Изображение" descr="Изображение"/>
          <p:cNvPicPr/>
          <p:nvPr/>
        </p:nvPicPr>
        <p:blipFill>
          <a:blip r:embed="rId4"/>
          <a:stretch/>
        </p:blipFill>
        <p:spPr>
          <a:xfrm>
            <a:off x="405000" y="6178320"/>
            <a:ext cx="3444840" cy="471960"/>
          </a:xfrm>
          <a:prstGeom prst="rect">
            <a:avLst/>
          </a:prstGeom>
          <a:ln w="12700">
            <a:noFill/>
          </a:ln>
        </p:spPr>
      </p:pic>
      <p:sp>
        <p:nvSpPr>
          <p:cNvPr id="187" name="Google Shape;300;p21"/>
          <p:cNvSpPr/>
          <p:nvPr/>
        </p:nvSpPr>
        <p:spPr>
          <a:xfrm>
            <a:off x="4611240" y="6363720"/>
            <a:ext cx="3425400" cy="243720"/>
          </a:xfrm>
          <a:prstGeom prst="rect">
            <a:avLst/>
          </a:prstGeom>
          <a:noFill/>
          <a:ln w="1270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600" spc="-1" strike="noStrike">
                <a:solidFill>
                  <a:srgbClr val="a6a6a6"/>
                </a:solidFill>
                <a:latin typeface="Gilroy Light"/>
                <a:ea typeface="Gilroy Light"/>
              </a:rPr>
              <a:t>#страну_меняют_люди</a:t>
            </a:r>
            <a:endParaRPr b="0" lang="ru-RU" sz="1600" spc="-1" strike="noStrike">
              <a:latin typeface="XO Oriel"/>
            </a:endParaRPr>
          </a:p>
        </p:txBody>
      </p:sp>
      <p:sp>
        <p:nvSpPr>
          <p:cNvPr id="188" name="Google Shape;117;p5"/>
          <p:cNvSpPr/>
          <p:nvPr/>
        </p:nvSpPr>
        <p:spPr>
          <a:xfrm flipH="1" rot="10800000">
            <a:off x="335520" y="1392120"/>
            <a:ext cx="11519640" cy="1548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9525">
            <a:solidFill>
              <a:srgbClr val="00b0f0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89" name="Google Shape;84;p1"/>
          <p:cNvSpPr/>
          <p:nvPr/>
        </p:nvSpPr>
        <p:spPr>
          <a:xfrm>
            <a:off x="621720" y="1276200"/>
            <a:ext cx="11112840" cy="46954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b">
            <a:noAutofit/>
          </a:bodyPr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r>
              <a:rPr b="1" lang="ru-RU" sz="1800" spc="-1" strike="noStrike" u="sng">
                <a:solidFill>
                  <a:srgbClr val="000000"/>
                </a:solidFill>
                <a:uFillTx/>
                <a:latin typeface="Arial"/>
                <a:ea typeface="Gilroy Light"/>
              </a:rPr>
              <a:t>Субсидии муниципальным образованиям на поддержку кооперативов:</a:t>
            </a:r>
            <a:endParaRPr b="0" lang="ru-RU" sz="1800" spc="-1" strike="noStrike">
              <a:latin typeface="XO Oriel"/>
            </a:endParaRPr>
          </a:p>
          <a:p>
            <a:pPr marL="285840" indent="-285840" algn="ctr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обслуживание расчетного счета в банках; </a:t>
            </a: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marL="285840" indent="-285840" algn="ctr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обеспечение электронного документооборота по предоставлению отчетности в Банк России в части компенсации компьютерной техники и/или приобретение лицензионного программного обеспечения для осуществления деятельности;</a:t>
            </a: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marL="285840" indent="-285840" algn="ctr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обеспечение электронного документооборота по предоставлению отчетности в Банк России в части обслуживания программных продуктов «Учет в микрофинансовых организациях» и «1С Бухгалтерия»;</a:t>
            </a: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90% сумма затрат регионального и муниципального бюджета;</a:t>
            </a: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10% средства кооператива</a:t>
            </a:r>
            <a:endParaRPr b="0" lang="ru-RU" sz="18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</p:txBody>
      </p:sp>
      <p:pic>
        <p:nvPicPr>
          <p:cNvPr id="190" name="" descr="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1" name="Объект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192" name="Объект 1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1080" cy="108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93" name="PlaceHolder 1"/>
          <p:cNvSpPr>
            <a:spLocks noGrp="1"/>
          </p:cNvSpPr>
          <p:nvPr>
            <p:ph type="title"/>
          </p:nvPr>
        </p:nvSpPr>
        <p:spPr>
          <a:xfrm>
            <a:off x="335880" y="451800"/>
            <a:ext cx="10150920" cy="72576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4800" spc="-1" strike="noStrike" cap="all">
                <a:solidFill>
                  <a:srgbClr val="33a1d8"/>
                </a:solidFill>
                <a:latin typeface="Gilroy Light"/>
                <a:ea typeface="Gilroy Light"/>
              </a:rPr>
              <a:t>Ресурсное обеспечение</a:t>
            </a:r>
            <a:endParaRPr b="0" lang="ru-RU" sz="4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4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10515240" cy="435096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rmAutofit/>
          </a:bodyPr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95" name="Изображение" descr="Изображение"/>
          <p:cNvPicPr/>
          <p:nvPr/>
        </p:nvPicPr>
        <p:blipFill>
          <a:blip r:embed="rId3"/>
          <a:stretch/>
        </p:blipFill>
        <p:spPr>
          <a:xfrm>
            <a:off x="9809640" y="424800"/>
            <a:ext cx="2045880" cy="779760"/>
          </a:xfrm>
          <a:prstGeom prst="rect">
            <a:avLst/>
          </a:prstGeom>
          <a:ln w="12700">
            <a:noFill/>
          </a:ln>
        </p:spPr>
      </p:pic>
      <p:pic>
        <p:nvPicPr>
          <p:cNvPr id="196" name="Изображение" descr="Изображение"/>
          <p:cNvPicPr/>
          <p:nvPr/>
        </p:nvPicPr>
        <p:blipFill>
          <a:blip r:embed="rId4"/>
          <a:stretch/>
        </p:blipFill>
        <p:spPr>
          <a:xfrm>
            <a:off x="405000" y="6178320"/>
            <a:ext cx="3444840" cy="471960"/>
          </a:xfrm>
          <a:prstGeom prst="rect">
            <a:avLst/>
          </a:prstGeom>
          <a:ln w="12700">
            <a:noFill/>
          </a:ln>
        </p:spPr>
      </p:pic>
      <p:sp>
        <p:nvSpPr>
          <p:cNvPr id="197" name="Google Shape;300;p21"/>
          <p:cNvSpPr/>
          <p:nvPr/>
        </p:nvSpPr>
        <p:spPr>
          <a:xfrm>
            <a:off x="4611240" y="6363720"/>
            <a:ext cx="3425400" cy="243720"/>
          </a:xfrm>
          <a:prstGeom prst="rect">
            <a:avLst/>
          </a:prstGeom>
          <a:noFill/>
          <a:ln w="1270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600" spc="-1" strike="noStrike">
                <a:solidFill>
                  <a:srgbClr val="a6a6a6"/>
                </a:solidFill>
                <a:latin typeface="Gilroy Light"/>
                <a:ea typeface="Gilroy Light"/>
              </a:rPr>
              <a:t>#страну_меняют_люди</a:t>
            </a:r>
            <a:endParaRPr b="0" lang="ru-RU" sz="1600" spc="-1" strike="noStrike">
              <a:latin typeface="XO Oriel"/>
            </a:endParaRPr>
          </a:p>
        </p:txBody>
      </p:sp>
      <p:sp>
        <p:nvSpPr>
          <p:cNvPr id="198" name="Google Shape;117;p5"/>
          <p:cNvSpPr/>
          <p:nvPr/>
        </p:nvSpPr>
        <p:spPr>
          <a:xfrm flipH="1" rot="10800000">
            <a:off x="335520" y="1392120"/>
            <a:ext cx="11519640" cy="1548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9525">
            <a:solidFill>
              <a:srgbClr val="00b0f0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99" name="Google Shape;84;p1"/>
          <p:cNvSpPr/>
          <p:nvPr/>
        </p:nvSpPr>
        <p:spPr>
          <a:xfrm>
            <a:off x="1219320" y="1038240"/>
            <a:ext cx="9448560" cy="52930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b">
            <a:noAutofit/>
          </a:bodyPr>
          <a:p>
            <a:pPr algn="ctr">
              <a:lnSpc>
                <a:spcPct val="100000"/>
              </a:lnSpc>
              <a:buNone/>
            </a:pPr>
            <a:endParaRPr b="0" lang="ru-RU" sz="20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r>
              <a:rPr b="0" lang="ru-RU" sz="1800" spc="-1" strike="noStrike" u="sng">
                <a:solidFill>
                  <a:srgbClr val="000000"/>
                </a:solidFill>
                <a:uFillTx/>
                <a:latin typeface="Arial"/>
                <a:ea typeface="Gilroy Light"/>
              </a:rPr>
              <a:t>Инфраструктура:</a:t>
            </a:r>
            <a:endParaRPr b="0" lang="ru-RU" sz="1800" spc="-1" strike="noStrike">
              <a:latin typeface="XO Oriel"/>
            </a:endParaRPr>
          </a:p>
          <a:p>
            <a:pPr marL="285840" indent="-285840" algn="just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Фонд поддержки малого и среднего предпринимательства      </a:t>
            </a:r>
            <a:endParaRPr b="0" lang="ru-RU" sz="1800" spc="-1" strike="noStrike">
              <a:latin typeface="XO Oriel"/>
            </a:endParaRPr>
          </a:p>
          <a:p>
            <a:pPr algn="just"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    </a:t>
            </a:r>
            <a:r>
              <a:rPr b="0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(выдача займов кооперативам); </a:t>
            </a:r>
            <a:endParaRPr b="0" lang="ru-RU" sz="1800" spc="-1" strike="noStrike">
              <a:latin typeface="XO Oriel"/>
            </a:endParaRPr>
          </a:p>
          <a:p>
            <a:pPr marL="285840" indent="-285840" algn="just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Центр развития кооперативов (полное сопровождение деятельности кооперативов; обучение членов команды кооперативов);</a:t>
            </a:r>
            <a:endParaRPr b="0" lang="ru-RU" sz="1800" spc="-1" strike="noStrike">
              <a:latin typeface="XO Oriel"/>
            </a:endParaRPr>
          </a:p>
          <a:p>
            <a:pPr algn="just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r>
              <a:rPr b="0" lang="ru-RU" sz="1800" spc="-1" strike="noStrike" u="sng">
                <a:solidFill>
                  <a:srgbClr val="000000"/>
                </a:solidFill>
                <a:uFillTx/>
                <a:latin typeface="Arial"/>
                <a:ea typeface="Gilroy Light"/>
              </a:rPr>
              <a:t>Источники финансирования:</a:t>
            </a:r>
            <a:endParaRPr b="0" lang="ru-RU" sz="1800" spc="-1" strike="noStrike">
              <a:latin typeface="XO Oriel"/>
            </a:endParaRPr>
          </a:p>
          <a:p>
            <a:pPr marL="343080" indent="-343080" algn="just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Программа развития кооперации и коллективных форм хозяйствования в Липецкой области (меры поддержки кооперативов);</a:t>
            </a:r>
            <a:endParaRPr b="0" lang="ru-RU" sz="1800" spc="-1" strike="noStrike">
              <a:latin typeface="XO Oriel"/>
            </a:endParaRPr>
          </a:p>
          <a:p>
            <a:pPr algn="just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r>
              <a:rPr b="0" lang="ru-RU" sz="1800" spc="-1" strike="noStrike" u="sng">
                <a:solidFill>
                  <a:srgbClr val="000000"/>
                </a:solidFill>
                <a:uFillTx/>
                <a:latin typeface="Arial"/>
                <a:ea typeface="Gilroy Light"/>
              </a:rPr>
              <a:t>Команда:</a:t>
            </a:r>
            <a:endParaRPr b="0" lang="ru-RU" sz="1800" spc="-1" strike="noStrike">
              <a:latin typeface="XO Oriel"/>
            </a:endParaRPr>
          </a:p>
          <a:p>
            <a:pPr marL="343080" indent="-343080" algn="just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Управление экономического развития Липецкой области (разработчик мер поддержки кооперативов);</a:t>
            </a:r>
            <a:endParaRPr b="0" lang="ru-RU" sz="1800" spc="-1" strike="noStrike">
              <a:latin typeface="XO Oriel"/>
            </a:endParaRPr>
          </a:p>
          <a:p>
            <a:pPr marL="343080" indent="-343080" algn="just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Фонд поддержки малого и среднего предпринимательства Липецкой области </a:t>
            </a:r>
            <a:endParaRPr b="0" lang="ru-RU" sz="1800" spc="-1" strike="noStrike">
              <a:latin typeface="XO Oriel"/>
            </a:endParaRPr>
          </a:p>
          <a:p>
            <a:pPr algn="just"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      </a:t>
            </a:r>
            <a:r>
              <a:rPr b="0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(структурное подразделение: Центр развития кооперативов);</a:t>
            </a:r>
            <a:endParaRPr b="0" lang="ru-RU" sz="1800" spc="-1" strike="noStrike">
              <a:latin typeface="XO Oriel"/>
            </a:endParaRPr>
          </a:p>
          <a:p>
            <a:pPr algn="just"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-     Межрегиональная ассоциация сельскохозяйственных кредитных потребительских кооперативов «Единство»</a:t>
            </a:r>
            <a:endParaRPr b="0" lang="ru-RU" sz="1800" spc="-1" strike="noStrike">
              <a:latin typeface="XO Oriel"/>
            </a:endParaRPr>
          </a:p>
          <a:p>
            <a:pPr algn="just">
              <a:lnSpc>
                <a:spcPct val="100000"/>
              </a:lnSpc>
              <a:buNone/>
            </a:pPr>
            <a:endParaRPr b="0" lang="ru-RU" sz="20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2000" spc="-1" strike="noStrike">
              <a:latin typeface="XO Oriel"/>
            </a:endParaRPr>
          </a:p>
        </p:txBody>
      </p:sp>
      <p:pic>
        <p:nvPicPr>
          <p:cNvPr id="200" name="" descr="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1" name="Объект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202" name="Объект 1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1080" cy="108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03" name="PlaceHolder 1"/>
          <p:cNvSpPr>
            <a:spLocks noGrp="1"/>
          </p:cNvSpPr>
          <p:nvPr>
            <p:ph type="title"/>
          </p:nvPr>
        </p:nvSpPr>
        <p:spPr>
          <a:xfrm>
            <a:off x="335880" y="451800"/>
            <a:ext cx="10150920" cy="72576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4800" spc="-1" strike="noStrike" cap="all">
                <a:solidFill>
                  <a:srgbClr val="33a1d8"/>
                </a:solidFill>
                <a:latin typeface="Gilroy Light"/>
                <a:ea typeface="Gilroy Light"/>
              </a:rPr>
              <a:t>РИСКИ</a:t>
            </a:r>
            <a:endParaRPr b="0" lang="ru-RU" sz="4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4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10515240" cy="435096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rmAutofit/>
          </a:bodyPr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05" name="Изображение" descr="Изображение"/>
          <p:cNvPicPr/>
          <p:nvPr/>
        </p:nvPicPr>
        <p:blipFill>
          <a:blip r:embed="rId3"/>
          <a:stretch/>
        </p:blipFill>
        <p:spPr>
          <a:xfrm>
            <a:off x="9809640" y="424800"/>
            <a:ext cx="2045880" cy="779760"/>
          </a:xfrm>
          <a:prstGeom prst="rect">
            <a:avLst/>
          </a:prstGeom>
          <a:ln w="12700">
            <a:noFill/>
          </a:ln>
        </p:spPr>
      </p:pic>
      <p:pic>
        <p:nvPicPr>
          <p:cNvPr id="206" name="Изображение" descr="Изображение"/>
          <p:cNvPicPr/>
          <p:nvPr/>
        </p:nvPicPr>
        <p:blipFill>
          <a:blip r:embed="rId4"/>
          <a:stretch/>
        </p:blipFill>
        <p:spPr>
          <a:xfrm>
            <a:off x="405000" y="6178320"/>
            <a:ext cx="3444840" cy="471960"/>
          </a:xfrm>
          <a:prstGeom prst="rect">
            <a:avLst/>
          </a:prstGeom>
          <a:ln w="12700">
            <a:noFill/>
          </a:ln>
        </p:spPr>
      </p:pic>
      <p:sp>
        <p:nvSpPr>
          <p:cNvPr id="207" name="Google Shape;300;p21"/>
          <p:cNvSpPr/>
          <p:nvPr/>
        </p:nvSpPr>
        <p:spPr>
          <a:xfrm>
            <a:off x="4611240" y="6363720"/>
            <a:ext cx="3425400" cy="243720"/>
          </a:xfrm>
          <a:prstGeom prst="rect">
            <a:avLst/>
          </a:prstGeom>
          <a:noFill/>
          <a:ln w="1270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600" spc="-1" strike="noStrike">
                <a:solidFill>
                  <a:srgbClr val="a6a6a6"/>
                </a:solidFill>
                <a:latin typeface="Gilroy Light"/>
                <a:ea typeface="Gilroy Light"/>
              </a:rPr>
              <a:t>#страну_меняют_люди</a:t>
            </a:r>
            <a:endParaRPr b="0" lang="ru-RU" sz="1600" spc="-1" strike="noStrike">
              <a:latin typeface="XO Oriel"/>
            </a:endParaRPr>
          </a:p>
        </p:txBody>
      </p:sp>
      <p:sp>
        <p:nvSpPr>
          <p:cNvPr id="208" name="Google Shape;117;p5"/>
          <p:cNvSpPr/>
          <p:nvPr/>
        </p:nvSpPr>
        <p:spPr>
          <a:xfrm flipH="1" rot="10800000">
            <a:off x="335520" y="1392120"/>
            <a:ext cx="11519640" cy="1548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9525">
            <a:solidFill>
              <a:srgbClr val="00b0f0"/>
            </a:solidFill>
            <a:round/>
          </a:ln>
        </p:spPr>
        <p:style>
          <a:lnRef idx="0"/>
          <a:fillRef idx="0"/>
          <a:effectRef idx="0"/>
          <a:fontRef idx="minor"/>
        </p:style>
      </p:sp>
      <p:graphicFrame>
        <p:nvGraphicFramePr>
          <p:cNvPr id="209" name="Таблица 11"/>
          <p:cNvGraphicFramePr/>
          <p:nvPr/>
        </p:nvGraphicFramePr>
        <p:xfrm>
          <a:off x="335880" y="1656720"/>
          <a:ext cx="11519640" cy="2494440"/>
        </p:xfrm>
        <a:graphic>
          <a:graphicData uri="http://schemas.openxmlformats.org/drawingml/2006/table">
            <a:tbl>
              <a:tblPr/>
              <a:tblGrid>
                <a:gridCol w="590760"/>
                <a:gridCol w="2167200"/>
                <a:gridCol w="3279960"/>
                <a:gridCol w="2857680"/>
                <a:gridCol w="2624040"/>
              </a:tblGrid>
              <a:tr h="518040">
                <a:tc>
                  <a:txBody>
                    <a:bodyPr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  <a:buNone/>
                        <a:tabLst>
                          <a:tab algn="l" pos="0"/>
                        </a:tabLst>
                      </a:pPr>
                      <a:r>
                        <a:rPr b="0" lang="ru-RU" sz="1400" spc="-1" strike="noStrike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</a:rPr>
                        <a:t>№</a:t>
                      </a:r>
                      <a:endParaRPr b="0" lang="ru-RU" sz="1400" spc="-1" strike="noStrike">
                        <a:latin typeface="XO Oriel"/>
                      </a:endParaRPr>
                    </a:p>
                  </a:txBody>
                  <a:tcPr anchor="ctr" marL="91440" marR="91440"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00b0f0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  <a:buNone/>
                        <a:tabLst>
                          <a:tab algn="l" pos="0"/>
                        </a:tabLst>
                      </a:pPr>
                      <a:r>
                        <a:rPr b="0" lang="ru-RU" sz="1400" spc="-1" strike="noStrike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</a:rPr>
                        <a:t>Название</a:t>
                      </a:r>
                      <a:endParaRPr b="0" lang="ru-RU" sz="14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00b0f0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  <a:buNone/>
                      </a:pPr>
                      <a:r>
                        <a:rPr b="0" lang="ru-RU" sz="1400" spc="-1" strike="noStrike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</a:rPr>
                        <a:t>Уровень (низкий/высокий/средний)  </a:t>
                      </a:r>
                      <a:endParaRPr b="0" lang="ru-RU" sz="14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00b0f0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  <a:buNone/>
                      </a:pPr>
                      <a:r>
                        <a:rPr b="0" lang="ru-RU" sz="1400" spc="-1" strike="noStrike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</a:rPr>
                        <a:t>Тип риска (внутренний/ внешний)</a:t>
                      </a:r>
                      <a:endParaRPr b="0" lang="ru-RU" sz="14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00b0f0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  <a:buNone/>
                      </a:pPr>
                      <a:r>
                        <a:rPr b="0" lang="ru-RU" sz="1400" spc="-1" strike="noStrike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</a:rPr>
                        <a:t>Действия по предотвращению рисков </a:t>
                      </a:r>
                      <a:endParaRPr b="0" lang="ru-RU" sz="14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00b0f0"/>
                      </a:solidFill>
                    </a:lnB>
                    <a:noFill/>
                  </a:tcPr>
                </a:tc>
              </a:tr>
              <a:tr h="1551960"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1.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00b0f0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Недостаток средств для финансирования мероприятий по поддержке кооперативов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00b0f0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высокий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00b0f0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внешний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00b0f0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Увеличение объемов финансирования, в том числе за счет средств пайщиков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T w="12240">
                      <a:solidFill>
                        <a:srgbClr val="00b0f0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</a:tr>
              <a:tr h="1065240"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2.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Сложность законодательства, регулирующего сферу кооперации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высокий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внешний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Внесение изменений в законы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noFill/>
                  </a:tcPr>
                </a:tc>
              </a:tr>
              <a:tr h="821880"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3.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Недостаток квалифицирован-ных кадров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средний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внутренний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Проведение обучающих мероприятий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solidFill>
                      <a:srgbClr val="5b9bd5">
                        <a:alpha val="20000"/>
                      </a:srgbClr>
                    </a:solidFill>
                  </a:tcPr>
                </a:tc>
              </a:tr>
              <a:tr h="821880"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4.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Информационная поддержка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средний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внутренний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R w="12240">
                      <a:solidFill>
                        <a:srgbClr val="00b0f0"/>
                      </a:solidFill>
                    </a:lnR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noFill/>
                  </a:tcPr>
                </a:tc>
                <a:tc>
                  <a:txBody>
                    <a:bodyPr anchor="ctr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0" lang="ru-RU" sz="1600" spc="-1" strike="noStrike">
                          <a:solidFill>
                            <a:srgbClr val="000000"/>
                          </a:solidFill>
                          <a:latin typeface="Arial"/>
                        </a:rPr>
                        <a:t>Проведение разъяснительных кампаний</a:t>
                      </a:r>
                      <a:endParaRPr b="0" lang="ru-RU" sz="16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00b0f0"/>
                      </a:solidFill>
                    </a:lnL>
                    <a:lnT w="12240">
                      <a:solidFill>
                        <a:srgbClr val="5b9bd5"/>
                      </a:solidFill>
                    </a:lnT>
                    <a:lnB w="12240">
                      <a:solidFill>
                        <a:srgbClr val="5b9bd5"/>
                      </a:solidFill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210" name="" descr="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99" name="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1080" cy="108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00" name="PlaceHolder 1"/>
          <p:cNvSpPr>
            <a:spLocks noGrp="1"/>
          </p:cNvSpPr>
          <p:nvPr>
            <p:ph type="title"/>
          </p:nvPr>
        </p:nvSpPr>
        <p:spPr>
          <a:xfrm>
            <a:off x="335880" y="451800"/>
            <a:ext cx="10150920" cy="72576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4800" spc="-1" strike="noStrike" cap="all">
                <a:solidFill>
                  <a:srgbClr val="33a1d8"/>
                </a:solidFill>
                <a:latin typeface="Gilroy Light"/>
                <a:ea typeface="Gilroy Light"/>
              </a:rPr>
              <a:t>Команда проекта </a:t>
            </a:r>
            <a:endParaRPr b="0" lang="ru-RU" sz="4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1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10515240" cy="435096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rmAutofit/>
          </a:bodyPr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02" name="Изображение" descr="Изображение"/>
          <p:cNvPicPr/>
          <p:nvPr/>
        </p:nvPicPr>
        <p:blipFill>
          <a:blip r:embed="rId3"/>
          <a:stretch/>
        </p:blipFill>
        <p:spPr>
          <a:xfrm>
            <a:off x="9809640" y="424800"/>
            <a:ext cx="2045880" cy="779760"/>
          </a:xfrm>
          <a:prstGeom prst="rect">
            <a:avLst/>
          </a:prstGeom>
          <a:ln w="12700">
            <a:noFill/>
          </a:ln>
        </p:spPr>
      </p:pic>
      <p:pic>
        <p:nvPicPr>
          <p:cNvPr id="103" name="Изображение" descr="Изображение"/>
          <p:cNvPicPr/>
          <p:nvPr/>
        </p:nvPicPr>
        <p:blipFill>
          <a:blip r:embed="rId4"/>
          <a:stretch/>
        </p:blipFill>
        <p:spPr>
          <a:xfrm>
            <a:off x="405000" y="6178320"/>
            <a:ext cx="3444840" cy="471960"/>
          </a:xfrm>
          <a:prstGeom prst="rect">
            <a:avLst/>
          </a:prstGeom>
          <a:ln w="12700">
            <a:noFill/>
          </a:ln>
        </p:spPr>
      </p:pic>
      <p:sp>
        <p:nvSpPr>
          <p:cNvPr id="104" name="Google Shape;300;p21"/>
          <p:cNvSpPr/>
          <p:nvPr/>
        </p:nvSpPr>
        <p:spPr>
          <a:xfrm>
            <a:off x="4611240" y="6363720"/>
            <a:ext cx="3425400" cy="243720"/>
          </a:xfrm>
          <a:prstGeom prst="rect">
            <a:avLst/>
          </a:prstGeom>
          <a:noFill/>
          <a:ln w="1270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600" spc="-1" strike="noStrike">
                <a:solidFill>
                  <a:srgbClr val="a6a6a6"/>
                </a:solidFill>
                <a:latin typeface="Gilroy Light"/>
                <a:ea typeface="Gilroy Light"/>
              </a:rPr>
              <a:t>#страну_меняют_люди</a:t>
            </a:r>
            <a:endParaRPr b="0" lang="ru-RU" sz="1600" spc="-1" strike="noStrike">
              <a:latin typeface="XO Oriel"/>
            </a:endParaRPr>
          </a:p>
        </p:txBody>
      </p:sp>
      <p:sp>
        <p:nvSpPr>
          <p:cNvPr id="105" name="Google Shape;117;p5"/>
          <p:cNvSpPr/>
          <p:nvPr/>
        </p:nvSpPr>
        <p:spPr>
          <a:xfrm flipH="1" rot="10800000">
            <a:off x="335520" y="1392120"/>
            <a:ext cx="11519640" cy="1548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9525">
            <a:solidFill>
              <a:srgbClr val="00b0f0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06" name="Прямоугольник 2"/>
          <p:cNvSpPr/>
          <p:nvPr/>
        </p:nvSpPr>
        <p:spPr>
          <a:xfrm>
            <a:off x="635760" y="1561680"/>
            <a:ext cx="10573920" cy="4570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marL="343080" indent="-343080" algn="just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1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Управление экономического развития Липецкой области (разработчик мер поддержки кооперативов; с 2013 года);</a:t>
            </a:r>
            <a:endParaRPr b="0" lang="ru-RU" sz="1800" spc="-1" strike="noStrike">
              <a:latin typeface="XO Oriel"/>
            </a:endParaRPr>
          </a:p>
          <a:p>
            <a:pPr algn="just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marL="343080" indent="-343080" algn="just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1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Фонд поддержки малого и среднего предпринимательства (предоставление займов кооперативам; с 2014 года);</a:t>
            </a:r>
            <a:endParaRPr b="0" lang="ru-RU" sz="1800" spc="-1" strike="noStrike">
              <a:latin typeface="XO Oriel"/>
            </a:endParaRPr>
          </a:p>
          <a:p>
            <a:pPr algn="just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marL="343080" indent="-343080" algn="just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1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Центр развития кооперативов (полное юридическое сопровождение кооперативов; обучение специалистов команд; бухгалтерский аутсорсинг; автоматизация процессов; с 1 ноября 2013 года);</a:t>
            </a:r>
            <a:endParaRPr b="0" lang="ru-RU" sz="1800" spc="-1" strike="noStrike">
              <a:latin typeface="XO Oriel"/>
            </a:endParaRPr>
          </a:p>
          <a:p>
            <a:pPr algn="just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marL="343080" indent="-343080" algn="just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1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Межрегиональная ассоциация сельскохозяйственных кредитных потребительских кооперативов «Единство» (разработка стандартов деятельности СКПК и контроль за соблюдением стандартов; взаимодействие с регулятором; с 2019 года)</a:t>
            </a:r>
            <a:endParaRPr b="0" lang="ru-RU" sz="1800" spc="-1" strike="noStrike">
              <a:latin typeface="XO Oriel"/>
            </a:endParaRPr>
          </a:p>
          <a:p>
            <a:pPr algn="just">
              <a:lnSpc>
                <a:spcPct val="100000"/>
              </a:lnSpc>
              <a:buNone/>
            </a:pPr>
            <a:endParaRPr b="0" lang="ru-RU" sz="2400" spc="-1" strike="noStrike">
              <a:latin typeface="XO Oriel"/>
            </a:endParaRPr>
          </a:p>
        </p:txBody>
      </p:sp>
      <p:pic>
        <p:nvPicPr>
          <p:cNvPr id="107" name="" descr="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Объект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109" name="Объект 1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1080" cy="108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10" name="PlaceHolder 1"/>
          <p:cNvSpPr>
            <a:spLocks noGrp="1"/>
          </p:cNvSpPr>
          <p:nvPr>
            <p:ph type="title"/>
          </p:nvPr>
        </p:nvSpPr>
        <p:spPr>
          <a:xfrm>
            <a:off x="335880" y="451800"/>
            <a:ext cx="10150920" cy="72576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4800" spc="-1" strike="noStrike" cap="all">
                <a:solidFill>
                  <a:srgbClr val="33a1d8"/>
                </a:solidFill>
                <a:latin typeface="Gilroy Light"/>
                <a:ea typeface="Gilroy Light"/>
              </a:rPr>
              <a:t>Проблема</a:t>
            </a:r>
            <a:endParaRPr b="0" lang="ru-RU" sz="4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1" name="PlaceHolder 2"/>
          <p:cNvSpPr>
            <a:spLocks noGrp="1"/>
          </p:cNvSpPr>
          <p:nvPr>
            <p:ph/>
          </p:nvPr>
        </p:nvSpPr>
        <p:spPr>
          <a:xfrm>
            <a:off x="1066320" y="2258640"/>
            <a:ext cx="10515240" cy="435096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rmAutofit/>
          </a:bodyPr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12" name="Изображение" descr="Изображение"/>
          <p:cNvPicPr/>
          <p:nvPr/>
        </p:nvPicPr>
        <p:blipFill>
          <a:blip r:embed="rId3"/>
          <a:stretch/>
        </p:blipFill>
        <p:spPr>
          <a:xfrm>
            <a:off x="9809640" y="424800"/>
            <a:ext cx="2045880" cy="779760"/>
          </a:xfrm>
          <a:prstGeom prst="rect">
            <a:avLst/>
          </a:prstGeom>
          <a:ln w="12700">
            <a:noFill/>
          </a:ln>
        </p:spPr>
      </p:pic>
      <p:pic>
        <p:nvPicPr>
          <p:cNvPr id="113" name="Изображение" descr="Изображение"/>
          <p:cNvPicPr/>
          <p:nvPr/>
        </p:nvPicPr>
        <p:blipFill>
          <a:blip r:embed="rId4"/>
          <a:stretch/>
        </p:blipFill>
        <p:spPr>
          <a:xfrm>
            <a:off x="405000" y="6178320"/>
            <a:ext cx="3444840" cy="471960"/>
          </a:xfrm>
          <a:prstGeom prst="rect">
            <a:avLst/>
          </a:prstGeom>
          <a:ln w="12700">
            <a:noFill/>
          </a:ln>
        </p:spPr>
      </p:pic>
      <p:sp>
        <p:nvSpPr>
          <p:cNvPr id="114" name="Google Shape;300;p21"/>
          <p:cNvSpPr/>
          <p:nvPr/>
        </p:nvSpPr>
        <p:spPr>
          <a:xfrm>
            <a:off x="4611240" y="6363720"/>
            <a:ext cx="3425400" cy="243720"/>
          </a:xfrm>
          <a:prstGeom prst="rect">
            <a:avLst/>
          </a:prstGeom>
          <a:noFill/>
          <a:ln w="1270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600" spc="-1" strike="noStrike">
                <a:solidFill>
                  <a:srgbClr val="a6a6a6"/>
                </a:solidFill>
                <a:latin typeface="Gilroy Light"/>
                <a:ea typeface="Gilroy Light"/>
              </a:rPr>
              <a:t>#страну_меняют_люди</a:t>
            </a:r>
            <a:endParaRPr b="0" lang="ru-RU" sz="1600" spc="-1" strike="noStrike">
              <a:latin typeface="XO Oriel"/>
            </a:endParaRPr>
          </a:p>
        </p:txBody>
      </p:sp>
      <p:sp>
        <p:nvSpPr>
          <p:cNvPr id="115" name="Google Shape;117;p5"/>
          <p:cNvSpPr/>
          <p:nvPr/>
        </p:nvSpPr>
        <p:spPr>
          <a:xfrm flipH="1" rot="10800000">
            <a:off x="335520" y="1392120"/>
            <a:ext cx="11519640" cy="1548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9525">
            <a:solidFill>
              <a:srgbClr val="00b0f0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16" name="Прямоугольник 14"/>
          <p:cNvSpPr/>
          <p:nvPr/>
        </p:nvSpPr>
        <p:spPr>
          <a:xfrm>
            <a:off x="335880" y="1476360"/>
            <a:ext cx="11050560" cy="39308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just">
              <a:lnSpc>
                <a:spcPct val="100000"/>
              </a:lnSpc>
              <a:buNone/>
            </a:pPr>
            <a:r>
              <a:rPr b="1" lang="ru-RU" sz="1800" spc="-1" strike="noStrike" cap="all">
                <a:solidFill>
                  <a:srgbClr val="000000"/>
                </a:solidFill>
                <a:latin typeface="Times New Roman"/>
                <a:ea typeface="Gilroy Light"/>
              </a:rPr>
              <a:t>- </a:t>
            </a:r>
            <a:r>
              <a:rPr b="1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Крестьянину или фермеру сложно получить кредит на нужды своего производства. Банки не всегда доступны, а микрофинансовые организации неудобны из-за высоких процентов. </a:t>
            </a:r>
            <a:endParaRPr b="0" lang="ru-RU" sz="1800" spc="-1" strike="noStrike">
              <a:latin typeface="XO Oriel"/>
            </a:endParaRPr>
          </a:p>
          <a:p>
            <a:pPr algn="just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just">
              <a:lnSpc>
                <a:spcPct val="100000"/>
              </a:lnSpc>
              <a:buNone/>
            </a:pPr>
            <a:r>
              <a:rPr b="1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     </a:t>
            </a:r>
            <a:r>
              <a:rPr b="1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Выходом из этой ситуации может быть объединение людей и предпринимателей с целью финансовой взаимопомощи в сельскохозяйственный кредитный потребительский кооператив.</a:t>
            </a:r>
            <a:endParaRPr b="0" lang="ru-RU" sz="1800" spc="-1" strike="noStrike">
              <a:latin typeface="XO Oriel"/>
            </a:endParaRPr>
          </a:p>
          <a:p>
            <a:pPr algn="just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just"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     </a:t>
            </a:r>
            <a:r>
              <a:rPr b="1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Обеспечение занятости через вовлечение Личных Подсобных Хозяйств в товарное производство.</a:t>
            </a:r>
            <a:endParaRPr b="0" lang="ru-RU" sz="1800" spc="-1" strike="noStrike">
              <a:latin typeface="XO Oriel"/>
            </a:endParaRPr>
          </a:p>
          <a:p>
            <a:pPr algn="just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just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just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</p:txBody>
      </p:sp>
      <p:pic>
        <p:nvPicPr>
          <p:cNvPr id="117" name="" descr="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8" name="Объект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119" name="Объект 1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1080" cy="108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20" name="PlaceHolder 1"/>
          <p:cNvSpPr>
            <a:spLocks noGrp="1"/>
          </p:cNvSpPr>
          <p:nvPr>
            <p:ph type="title"/>
          </p:nvPr>
        </p:nvSpPr>
        <p:spPr>
          <a:xfrm>
            <a:off x="335880" y="451800"/>
            <a:ext cx="10150920" cy="72576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4800" spc="-1" strike="noStrike" cap="all">
                <a:solidFill>
                  <a:srgbClr val="33a1d8"/>
                </a:solidFill>
                <a:latin typeface="Gilroy Light"/>
                <a:ea typeface="Gilroy Light"/>
              </a:rPr>
              <a:t>Цель проекта </a:t>
            </a:r>
            <a:endParaRPr b="0" lang="ru-RU" sz="4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1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10515240" cy="435096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rmAutofit/>
          </a:bodyPr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22" name="Изображение" descr="Изображение"/>
          <p:cNvPicPr/>
          <p:nvPr/>
        </p:nvPicPr>
        <p:blipFill>
          <a:blip r:embed="rId3"/>
          <a:stretch/>
        </p:blipFill>
        <p:spPr>
          <a:xfrm>
            <a:off x="9809640" y="424800"/>
            <a:ext cx="2045880" cy="779760"/>
          </a:xfrm>
          <a:prstGeom prst="rect">
            <a:avLst/>
          </a:prstGeom>
          <a:ln w="12700">
            <a:noFill/>
          </a:ln>
        </p:spPr>
      </p:pic>
      <p:pic>
        <p:nvPicPr>
          <p:cNvPr id="123" name="Изображение" descr="Изображение"/>
          <p:cNvPicPr/>
          <p:nvPr/>
        </p:nvPicPr>
        <p:blipFill>
          <a:blip r:embed="rId4"/>
          <a:stretch/>
        </p:blipFill>
        <p:spPr>
          <a:xfrm>
            <a:off x="405000" y="6178320"/>
            <a:ext cx="3444840" cy="471960"/>
          </a:xfrm>
          <a:prstGeom prst="rect">
            <a:avLst/>
          </a:prstGeom>
          <a:ln w="12700">
            <a:noFill/>
          </a:ln>
        </p:spPr>
      </p:pic>
      <p:sp>
        <p:nvSpPr>
          <p:cNvPr id="124" name="Google Shape;300;p21"/>
          <p:cNvSpPr/>
          <p:nvPr/>
        </p:nvSpPr>
        <p:spPr>
          <a:xfrm>
            <a:off x="4611240" y="6527520"/>
            <a:ext cx="3425400" cy="243720"/>
          </a:xfrm>
          <a:prstGeom prst="rect">
            <a:avLst/>
          </a:prstGeom>
          <a:noFill/>
          <a:ln w="1270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600" spc="-1" strike="noStrike">
                <a:solidFill>
                  <a:srgbClr val="a6a6a6"/>
                </a:solidFill>
                <a:latin typeface="Gilroy Light"/>
                <a:ea typeface="Gilroy Light"/>
              </a:rPr>
              <a:t>#страну_меняют_люди</a:t>
            </a:r>
            <a:endParaRPr b="0" lang="ru-RU" sz="1600" spc="-1" strike="noStrike">
              <a:latin typeface="XO Oriel"/>
            </a:endParaRPr>
          </a:p>
        </p:txBody>
      </p:sp>
      <p:sp>
        <p:nvSpPr>
          <p:cNvPr id="125" name="Google Shape;117;p5"/>
          <p:cNvSpPr/>
          <p:nvPr/>
        </p:nvSpPr>
        <p:spPr>
          <a:xfrm flipH="1" rot="10800000">
            <a:off x="335520" y="1392120"/>
            <a:ext cx="11519640" cy="1548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9525">
            <a:solidFill>
              <a:srgbClr val="00b0f0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26" name="Google Shape;84;p1"/>
          <p:cNvSpPr/>
          <p:nvPr/>
        </p:nvSpPr>
        <p:spPr>
          <a:xfrm>
            <a:off x="335880" y="834840"/>
            <a:ext cx="11194200" cy="5581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b">
            <a:noAutofit/>
          </a:bodyPr>
          <a:p>
            <a:pPr marL="343080" indent="-343080" algn="just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1" lang="ru-RU" sz="1200" spc="-1" strike="noStrike">
                <a:solidFill>
                  <a:srgbClr val="000000"/>
                </a:solidFill>
                <a:latin typeface="Arial"/>
                <a:ea typeface="Gilroy Light"/>
              </a:rPr>
              <a:t>По данным реестра кооперативов (Сайт Центробанка) в России 556 действующих сельскохозяйственных кредитных потребительских кооперативов. 51% (287) из них работают В Липецкой области;</a:t>
            </a:r>
            <a:endParaRPr b="0" lang="ru-RU" sz="12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r>
              <a:rPr b="1" lang="ru-RU" sz="1200" spc="-1" strike="noStrike">
                <a:solidFill>
                  <a:srgbClr val="000000"/>
                </a:solidFill>
                <a:latin typeface="Arial"/>
                <a:ea typeface="Gilroy Light"/>
              </a:rPr>
              <a:t> </a:t>
            </a:r>
            <a:r>
              <a:rPr b="1" lang="ru-RU" sz="1200" spc="-1" strike="noStrike">
                <a:solidFill>
                  <a:srgbClr val="000000"/>
                </a:solidFill>
                <a:latin typeface="Arial"/>
                <a:ea typeface="Gilroy Light"/>
              </a:rPr>
              <a:t>(В Воронежской -1; в Белгородской -1;в Волгоградской-30; Тюменской-14;Чувашии-5;Бурятии-5)</a:t>
            </a:r>
            <a:endParaRPr b="0" lang="ru-RU" sz="12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2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r>
              <a:rPr b="1" lang="ru-RU" sz="1600" spc="-1" strike="noStrike" u="sng">
                <a:solidFill>
                  <a:srgbClr val="000000"/>
                </a:solidFill>
                <a:uFillTx/>
                <a:latin typeface="Arial"/>
                <a:ea typeface="Gilroy Light"/>
              </a:rPr>
              <a:t>Цели реализации проекта в Липецкой области к 2024 году:</a:t>
            </a:r>
            <a:endParaRPr b="0" lang="ru-RU" sz="1600" spc="-1" strike="noStrike">
              <a:latin typeface="XO Oriel"/>
            </a:endParaRPr>
          </a:p>
          <a:p>
            <a:pPr>
              <a:lnSpc>
                <a:spcPct val="90000"/>
              </a:lnSpc>
              <a:buNone/>
            </a:pPr>
            <a:endParaRPr b="0" lang="ru-RU" sz="1200" spc="-1" strike="noStrike">
              <a:latin typeface="XO Oriel"/>
            </a:endParaRPr>
          </a:p>
          <a:p>
            <a:pPr marL="285840" indent="-285840">
              <a:lnSpc>
                <a:spcPct val="90000"/>
              </a:lnSpc>
              <a:buClr>
                <a:srgbClr val="000000"/>
              </a:buClr>
              <a:buFont typeface="Arial"/>
              <a:buChar char="-"/>
            </a:pPr>
            <a:r>
              <a:rPr b="0" lang="ru-RU" sz="1600" spc="-1" strike="noStrike">
                <a:solidFill>
                  <a:srgbClr val="000000"/>
                </a:solidFill>
                <a:latin typeface="Arial"/>
                <a:ea typeface="Arial"/>
              </a:rPr>
              <a:t>сохранение доли личных подсобных хозяйств, вовлеченных в сельскохозяйственные кредитные потребительские кооперативы, на уровне 35,3%;</a:t>
            </a:r>
            <a:endParaRPr b="0" lang="ru-RU" sz="1600" spc="-1" strike="noStrike">
              <a:latin typeface="XO Oriel"/>
            </a:endParaRPr>
          </a:p>
          <a:p>
            <a:pPr marL="285840" indent="-285840">
              <a:lnSpc>
                <a:spcPct val="90000"/>
              </a:lnSpc>
              <a:buClr>
                <a:srgbClr val="000000"/>
              </a:buClr>
              <a:buFont typeface="Arial"/>
              <a:buChar char="-"/>
            </a:pPr>
            <a:r>
              <a:rPr b="0" lang="ru-RU" sz="1600" spc="-1" strike="noStrike">
                <a:solidFill>
                  <a:srgbClr val="000000"/>
                </a:solidFill>
                <a:latin typeface="Arial"/>
                <a:ea typeface="Arial"/>
              </a:rPr>
              <a:t>увеличение уровня доходов граждан от участия в кооперативной деятельности в 2,2 раза;</a:t>
            </a:r>
            <a:endParaRPr b="0" lang="ru-RU" sz="1600" spc="-1" strike="noStrike">
              <a:latin typeface="XO Oriel"/>
            </a:endParaRPr>
          </a:p>
          <a:p>
            <a:pPr marL="285840" indent="-285840">
              <a:lnSpc>
                <a:spcPct val="90000"/>
              </a:lnSpc>
              <a:buClr>
                <a:srgbClr val="000000"/>
              </a:buClr>
              <a:buFont typeface="Arial"/>
              <a:buChar char="-"/>
            </a:pPr>
            <a:r>
              <a:rPr b="0" lang="ru-RU" sz="1600" spc="-1" strike="noStrike">
                <a:solidFill>
                  <a:srgbClr val="000000"/>
                </a:solidFill>
                <a:latin typeface="Arial"/>
                <a:ea typeface="Arial"/>
              </a:rPr>
              <a:t>увеличение доли работающих кооперативов до 90%;</a:t>
            </a:r>
            <a:endParaRPr b="0" lang="ru-RU" sz="1600" spc="-1" strike="noStrike">
              <a:latin typeface="XO Oriel"/>
            </a:endParaRPr>
          </a:p>
          <a:p>
            <a:pPr>
              <a:lnSpc>
                <a:spcPct val="90000"/>
              </a:lnSpc>
              <a:buNone/>
            </a:pPr>
            <a:r>
              <a:rPr b="0" lang="ru-RU" sz="1600" spc="-1" strike="noStrike">
                <a:solidFill>
                  <a:srgbClr val="000000"/>
                </a:solidFill>
                <a:latin typeface="Arial"/>
                <a:ea typeface="Arial"/>
              </a:rPr>
              <a:t>-    создание не менее 20 кооперативов второго и последующего уровней;</a:t>
            </a:r>
            <a:br>
              <a:rPr sz="1600"/>
            </a:br>
            <a:r>
              <a:rPr b="0" lang="ru-RU" sz="1600" spc="-1" strike="noStrike">
                <a:solidFill>
                  <a:srgbClr val="000000"/>
                </a:solidFill>
                <a:latin typeface="Arial"/>
                <a:ea typeface="Arial"/>
              </a:rPr>
              <a:t>-    увеличение объема займов, предоставленных сельскохозяйственными кредитными потребительскими кооперативами малым формам хозяйствования, до 920 млн. руб.;</a:t>
            </a:r>
            <a:br>
              <a:rPr sz="1600"/>
            </a:br>
            <a:endParaRPr b="0" lang="ru-RU" sz="16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r>
              <a:rPr b="1" lang="ru-RU" sz="1600" spc="-1" strike="noStrike" u="sng">
                <a:solidFill>
                  <a:srgbClr val="000000"/>
                </a:solidFill>
                <a:uFillTx/>
                <a:latin typeface="Arial"/>
                <a:ea typeface="Gilroy Light"/>
              </a:rPr>
              <a:t>Цель реализации проекта при условии масштабирования:</a:t>
            </a:r>
            <a:endParaRPr b="0" lang="ru-RU" sz="16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400" spc="-1" strike="noStrike">
              <a:latin typeface="XO Orie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0" lang="ru-RU" sz="1600" spc="-1" strike="noStrike">
                <a:solidFill>
                  <a:srgbClr val="000000"/>
                </a:solidFill>
                <a:latin typeface="Arial"/>
                <a:ea typeface="Arial"/>
              </a:rPr>
              <a:t>масштабирование Проекта на 5 регионов;</a:t>
            </a:r>
            <a:endParaRPr b="0" lang="ru-RU" sz="1600" spc="-1" strike="noStrike">
              <a:latin typeface="XO Orie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0" lang="ru-RU" sz="1600" spc="-1" strike="noStrike">
                <a:solidFill>
                  <a:srgbClr val="000000"/>
                </a:solidFill>
                <a:latin typeface="Arial"/>
                <a:ea typeface="Arial"/>
              </a:rPr>
              <a:t>вовлечение в кооперацию не менее 15% личных подсобных хозяйств заинтересованных регионов</a:t>
            </a:r>
            <a:r>
              <a:rPr b="1" lang="ru-RU" sz="1400" spc="-1" strike="noStrike">
                <a:solidFill>
                  <a:srgbClr val="000000"/>
                </a:solidFill>
                <a:latin typeface="Arial"/>
                <a:ea typeface="Gilroy Light"/>
              </a:rPr>
              <a:t>.</a:t>
            </a:r>
            <a:endParaRPr b="0" lang="ru-RU" sz="14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r>
              <a:rPr b="1" lang="ru-RU" sz="1400" spc="-1" strike="noStrike" u="sng" cap="all">
                <a:solidFill>
                  <a:srgbClr val="33a1d8"/>
                </a:solidFill>
                <a:uFillTx/>
                <a:latin typeface="Arial"/>
                <a:ea typeface="Gilroy Light"/>
              </a:rPr>
              <a:t> </a:t>
            </a:r>
            <a:endParaRPr b="0" lang="ru-RU" sz="14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4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4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400" spc="-1" strike="noStrike">
              <a:latin typeface="XO Oriel"/>
            </a:endParaRPr>
          </a:p>
        </p:txBody>
      </p:sp>
      <p:sp>
        <p:nvSpPr>
          <p:cNvPr id="127" name="Прямоугольник 2"/>
          <p:cNvSpPr/>
          <p:nvPr/>
        </p:nvSpPr>
        <p:spPr>
          <a:xfrm>
            <a:off x="9270360" y="-24537960"/>
            <a:ext cx="5233320" cy="3034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400" spc="-1" strike="noStrike">
                <a:solidFill>
                  <a:srgbClr val="000000"/>
                </a:solidFill>
                <a:latin typeface="Arial"/>
                <a:ea typeface="Arial"/>
              </a:rPr>
              <a:t>увеличение доли личных подсобных хозяйств, вовлеченных </a:t>
            </a:r>
            <a:endParaRPr b="0" lang="ru-RU" sz="1400" spc="-1" strike="noStrike">
              <a:latin typeface="XO Oriel"/>
            </a:endParaRPr>
          </a:p>
        </p:txBody>
      </p:sp>
      <p:pic>
        <p:nvPicPr>
          <p:cNvPr id="128" name="" descr="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9" name="Объект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130" name="Объект 1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1080" cy="108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31" name="PlaceHolder 1"/>
          <p:cNvSpPr>
            <a:spLocks noGrp="1"/>
          </p:cNvSpPr>
          <p:nvPr>
            <p:ph type="title"/>
          </p:nvPr>
        </p:nvSpPr>
        <p:spPr>
          <a:xfrm>
            <a:off x="335880" y="451800"/>
            <a:ext cx="10150920" cy="72576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4800" spc="-1" strike="noStrike" cap="all">
                <a:solidFill>
                  <a:srgbClr val="33a1d8"/>
                </a:solidFill>
                <a:latin typeface="Gilroy Light"/>
                <a:ea typeface="Gilroy Light"/>
              </a:rPr>
              <a:t>Суть проекта</a:t>
            </a:r>
            <a:endParaRPr b="0" lang="ru-RU" sz="4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2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10515240" cy="435096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rmAutofit/>
          </a:bodyPr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33" name="Изображение" descr="Изображение"/>
          <p:cNvPicPr/>
          <p:nvPr/>
        </p:nvPicPr>
        <p:blipFill>
          <a:blip r:embed="rId3"/>
          <a:stretch/>
        </p:blipFill>
        <p:spPr>
          <a:xfrm>
            <a:off x="9809640" y="424800"/>
            <a:ext cx="2045880" cy="779760"/>
          </a:xfrm>
          <a:prstGeom prst="rect">
            <a:avLst/>
          </a:prstGeom>
          <a:ln w="12700">
            <a:noFill/>
          </a:ln>
        </p:spPr>
      </p:pic>
      <p:pic>
        <p:nvPicPr>
          <p:cNvPr id="134" name="Изображение" descr="Изображение"/>
          <p:cNvPicPr/>
          <p:nvPr/>
        </p:nvPicPr>
        <p:blipFill>
          <a:blip r:embed="rId4"/>
          <a:stretch/>
        </p:blipFill>
        <p:spPr>
          <a:xfrm>
            <a:off x="405000" y="6178320"/>
            <a:ext cx="3444840" cy="471960"/>
          </a:xfrm>
          <a:prstGeom prst="rect">
            <a:avLst/>
          </a:prstGeom>
          <a:ln w="12700">
            <a:noFill/>
          </a:ln>
        </p:spPr>
      </p:pic>
      <p:sp>
        <p:nvSpPr>
          <p:cNvPr id="135" name="Google Shape;300;p21"/>
          <p:cNvSpPr/>
          <p:nvPr/>
        </p:nvSpPr>
        <p:spPr>
          <a:xfrm>
            <a:off x="4611240" y="6363720"/>
            <a:ext cx="3425400" cy="243720"/>
          </a:xfrm>
          <a:prstGeom prst="rect">
            <a:avLst/>
          </a:prstGeom>
          <a:noFill/>
          <a:ln w="1270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600" spc="-1" strike="noStrike">
                <a:solidFill>
                  <a:srgbClr val="a6a6a6"/>
                </a:solidFill>
                <a:latin typeface="Gilroy Light"/>
                <a:ea typeface="Gilroy Light"/>
              </a:rPr>
              <a:t>#страну_меняют_люди</a:t>
            </a:r>
            <a:endParaRPr b="0" lang="ru-RU" sz="1600" spc="-1" strike="noStrike">
              <a:latin typeface="XO Oriel"/>
            </a:endParaRPr>
          </a:p>
        </p:txBody>
      </p:sp>
      <p:sp>
        <p:nvSpPr>
          <p:cNvPr id="136" name="Google Shape;117;p5"/>
          <p:cNvSpPr/>
          <p:nvPr/>
        </p:nvSpPr>
        <p:spPr>
          <a:xfrm flipH="1" rot="10800000">
            <a:off x="335520" y="1392120"/>
            <a:ext cx="11519640" cy="1548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9525">
            <a:solidFill>
              <a:srgbClr val="00b0f0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37" name="Google Shape;84;p1"/>
          <p:cNvSpPr/>
          <p:nvPr/>
        </p:nvSpPr>
        <p:spPr>
          <a:xfrm>
            <a:off x="698040" y="1155600"/>
            <a:ext cx="10567080" cy="52588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b">
            <a:noAutofit/>
          </a:bodyPr>
          <a:p>
            <a:pPr algn="ctr">
              <a:lnSpc>
                <a:spcPct val="100000"/>
              </a:lnSpc>
              <a:buNone/>
            </a:pPr>
            <a:r>
              <a:rPr b="1" lang="ru-RU" sz="1600" spc="-1" strike="noStrike">
                <a:solidFill>
                  <a:srgbClr val="000000"/>
                </a:solidFill>
                <a:latin typeface="Arial"/>
                <a:ea typeface="Gilroy Light"/>
              </a:rPr>
              <a:t>Создание кооперативов практически в каждом сельском поселении. </a:t>
            </a:r>
            <a:endParaRPr b="0" lang="ru-RU" sz="16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600" spc="-1" strike="noStrike">
              <a:latin typeface="XO Oriel"/>
            </a:endParaRPr>
          </a:p>
          <a:p>
            <a:pPr algn="just">
              <a:lnSpc>
                <a:spcPct val="100000"/>
              </a:lnSpc>
              <a:buNone/>
            </a:pPr>
            <a:r>
              <a:rPr b="0" lang="ru-RU" sz="1600" spc="-1" strike="noStrike">
                <a:solidFill>
                  <a:srgbClr val="000000"/>
                </a:solidFill>
                <a:latin typeface="Arial"/>
                <a:ea typeface="Gilroy Light"/>
              </a:rPr>
              <a:t>Члены кооператива объединяют денежные средства и получают займы для осуществления сельскохозяйственной деятельности (разведение сельхоз. животных, выращивание растений или предпринимательской деятельности (оказание услуг, торговая деятельность, мастерские).</a:t>
            </a:r>
            <a:endParaRPr b="0" lang="ru-RU" sz="16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6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r>
              <a:rPr b="0" lang="ru-RU" sz="1600" spc="-1" strike="noStrike">
                <a:solidFill>
                  <a:srgbClr val="000000"/>
                </a:solidFill>
                <a:latin typeface="Arial"/>
                <a:ea typeface="Gilroy Light"/>
              </a:rPr>
              <a:t>Сбережение временно свободных средств под проценты выше, чем в коммерческих банках (до 12%).</a:t>
            </a:r>
            <a:endParaRPr b="0" lang="ru-RU" sz="16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6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r>
              <a:rPr b="1" lang="ru-RU" sz="1400" spc="-1" strike="noStrike">
                <a:solidFill>
                  <a:srgbClr val="000000"/>
                </a:solidFill>
                <a:latin typeface="Arial"/>
                <a:ea typeface="Gilroy Light"/>
              </a:rPr>
              <a:t>Промежуточные итоги развития в Липецкой области (2022 год).</a:t>
            </a:r>
            <a:endParaRPr b="0" lang="ru-RU" sz="14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4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r>
              <a:rPr b="0" lang="ru-RU" sz="1400" spc="-1" strike="noStrike">
                <a:solidFill>
                  <a:srgbClr val="000000"/>
                </a:solidFill>
                <a:latin typeface="Arial"/>
                <a:ea typeface="Gilroy Light"/>
              </a:rPr>
              <a:t>66,9  тыс. ЛПХ (35,5 % всех ЛПХ ) вовлечено в кооперацию. По оценке объем предоставленных займов — составил 1,2 млрд.руб. (105% к уровню 2021 года), заключено договоров личных сбережений на сумму свыше 530 млн.руб. (101,3 % к уровню 2021 года).</a:t>
            </a:r>
            <a:endParaRPr b="0" lang="ru-RU" sz="14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4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r>
              <a:rPr b="0" lang="ru-RU" sz="1400" spc="-1" strike="noStrike">
                <a:solidFill>
                  <a:srgbClr val="000000"/>
                </a:solidFill>
                <a:latin typeface="Arial"/>
                <a:ea typeface="Gilroy Light"/>
              </a:rPr>
              <a:t>Фонд финансовой взаимопомощи всех кооперативов состоит: (</a:t>
            </a:r>
            <a:r>
              <a:rPr b="0" lang="en-US" sz="1400" spc="-1" strike="noStrike">
                <a:solidFill>
                  <a:srgbClr val="c00000"/>
                </a:solidFill>
                <a:latin typeface="Arial"/>
                <a:ea typeface="Gilroy Light"/>
              </a:rPr>
              <a:t>74</a:t>
            </a:r>
            <a:r>
              <a:rPr b="0" lang="ru-RU" sz="1400" spc="-1" strike="noStrike">
                <a:solidFill>
                  <a:srgbClr val="c00000"/>
                </a:solidFill>
                <a:latin typeface="Arial"/>
                <a:ea typeface="Gilroy Light"/>
              </a:rPr>
              <a:t>%</a:t>
            </a:r>
            <a:r>
              <a:rPr b="0" lang="ru-RU" sz="1400" spc="-1" strike="noStrike">
                <a:solidFill>
                  <a:srgbClr val="000000"/>
                </a:solidFill>
                <a:latin typeface="Arial"/>
                <a:ea typeface="Gilroy Light"/>
              </a:rPr>
              <a:t> средства членов; </a:t>
            </a:r>
            <a:r>
              <a:rPr b="0" lang="en-US" sz="1400" spc="-1" strike="noStrike">
                <a:solidFill>
                  <a:srgbClr val="c00000"/>
                </a:solidFill>
                <a:latin typeface="Arial"/>
                <a:ea typeface="Gilroy Light"/>
              </a:rPr>
              <a:t>7</a:t>
            </a:r>
            <a:r>
              <a:rPr b="0" lang="ru-RU" sz="1400" spc="-1" strike="noStrike">
                <a:solidFill>
                  <a:srgbClr val="c00000"/>
                </a:solidFill>
                <a:latin typeface="Arial"/>
                <a:ea typeface="Gilroy Light"/>
              </a:rPr>
              <a:t>%</a:t>
            </a:r>
            <a:r>
              <a:rPr b="0" lang="ru-RU" sz="1400" spc="-1" strike="noStrike">
                <a:solidFill>
                  <a:srgbClr val="000000"/>
                </a:solidFill>
                <a:latin typeface="Arial"/>
                <a:ea typeface="Gilroy Light"/>
              </a:rPr>
              <a:t>-средства господдержки; займы фонда-</a:t>
            </a:r>
            <a:r>
              <a:rPr b="0" lang="en-US" sz="1400" spc="-1" strike="noStrike">
                <a:solidFill>
                  <a:srgbClr val="c00000"/>
                </a:solidFill>
                <a:latin typeface="Arial"/>
                <a:ea typeface="Gilroy Light"/>
              </a:rPr>
              <a:t>4</a:t>
            </a:r>
            <a:r>
              <a:rPr b="0" lang="ru-RU" sz="1400" spc="-1" strike="noStrike">
                <a:solidFill>
                  <a:srgbClr val="c00000"/>
                </a:solidFill>
                <a:latin typeface="Arial"/>
                <a:ea typeface="Gilroy Light"/>
              </a:rPr>
              <a:t>%</a:t>
            </a:r>
            <a:r>
              <a:rPr b="0" lang="ru-RU" sz="1400" spc="-1" strike="noStrike">
                <a:solidFill>
                  <a:srgbClr val="000000"/>
                </a:solidFill>
                <a:latin typeface="Arial"/>
                <a:ea typeface="Gilroy Light"/>
              </a:rPr>
              <a:t>; паевый фонд-</a:t>
            </a:r>
            <a:r>
              <a:rPr b="0" lang="en-US" sz="1400" spc="-1" strike="noStrike">
                <a:solidFill>
                  <a:srgbClr val="c00000"/>
                </a:solidFill>
                <a:latin typeface="Arial"/>
                <a:ea typeface="Gilroy Light"/>
              </a:rPr>
              <a:t>5</a:t>
            </a:r>
            <a:r>
              <a:rPr b="0" lang="ru-RU" sz="1400" spc="-1" strike="noStrike">
                <a:solidFill>
                  <a:srgbClr val="c00000"/>
                </a:solidFill>
                <a:latin typeface="Arial"/>
                <a:ea typeface="Gilroy Light"/>
              </a:rPr>
              <a:t>%</a:t>
            </a:r>
            <a:r>
              <a:rPr b="0" lang="ru-RU" sz="1400" spc="-1" strike="noStrike">
                <a:solidFill>
                  <a:srgbClr val="000000"/>
                </a:solidFill>
                <a:latin typeface="Arial"/>
                <a:ea typeface="Gilroy Light"/>
              </a:rPr>
              <a:t>).</a:t>
            </a:r>
            <a:endParaRPr b="0" lang="ru-RU" sz="14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4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r>
              <a:rPr b="0" lang="ru-RU" sz="1400" spc="-1" strike="noStrike">
                <a:solidFill>
                  <a:srgbClr val="000000"/>
                </a:solidFill>
                <a:latin typeface="Arial"/>
                <a:ea typeface="Gilroy Light"/>
              </a:rPr>
              <a:t>На 1 рубль поддержки привлечено </a:t>
            </a:r>
            <a:r>
              <a:rPr b="0" lang="ru-RU" sz="1400" spc="-1" strike="noStrike">
                <a:solidFill>
                  <a:srgbClr val="c00000"/>
                </a:solidFill>
                <a:latin typeface="Arial"/>
                <a:ea typeface="Gilroy Light"/>
              </a:rPr>
              <a:t>42,2 </a:t>
            </a:r>
            <a:r>
              <a:rPr b="0" lang="ru-RU" sz="1400" spc="-1" strike="noStrike">
                <a:solidFill>
                  <a:srgbClr val="000000"/>
                </a:solidFill>
                <a:latin typeface="Arial"/>
                <a:ea typeface="Gilroy Light"/>
              </a:rPr>
              <a:t> руб. членов кооперативов</a:t>
            </a:r>
            <a:endParaRPr b="0" lang="ru-RU" sz="14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6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6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600" spc="-1" strike="noStrike">
              <a:latin typeface="XO Oriel"/>
            </a:endParaRPr>
          </a:p>
        </p:txBody>
      </p:sp>
      <p:pic>
        <p:nvPicPr>
          <p:cNvPr id="138" name="" descr="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9" name="Объект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140" name="Объект 1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1080" cy="108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41" name="PlaceHolder 1"/>
          <p:cNvSpPr>
            <a:spLocks noGrp="1"/>
          </p:cNvSpPr>
          <p:nvPr>
            <p:ph type="title"/>
          </p:nvPr>
        </p:nvSpPr>
        <p:spPr>
          <a:xfrm>
            <a:off x="335880" y="451800"/>
            <a:ext cx="10150920" cy="72576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4800" spc="-1" strike="noStrike" cap="all">
                <a:solidFill>
                  <a:srgbClr val="33a1d8"/>
                </a:solidFill>
                <a:latin typeface="Gilroy Light"/>
                <a:ea typeface="Gilroy Light"/>
              </a:rPr>
              <a:t>Стейкхолдеры</a:t>
            </a:r>
            <a:endParaRPr b="0" lang="ru-RU" sz="4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2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10515240" cy="435096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rmAutofit/>
          </a:bodyPr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43" name="Изображение" descr="Изображение"/>
          <p:cNvPicPr/>
          <p:nvPr/>
        </p:nvPicPr>
        <p:blipFill>
          <a:blip r:embed="rId3"/>
          <a:stretch/>
        </p:blipFill>
        <p:spPr>
          <a:xfrm>
            <a:off x="9809640" y="424800"/>
            <a:ext cx="2045880" cy="779760"/>
          </a:xfrm>
          <a:prstGeom prst="rect">
            <a:avLst/>
          </a:prstGeom>
          <a:ln w="12700">
            <a:noFill/>
          </a:ln>
        </p:spPr>
      </p:pic>
      <p:pic>
        <p:nvPicPr>
          <p:cNvPr id="144" name="Изображение" descr="Изображение"/>
          <p:cNvPicPr/>
          <p:nvPr/>
        </p:nvPicPr>
        <p:blipFill>
          <a:blip r:embed="rId4"/>
          <a:stretch/>
        </p:blipFill>
        <p:spPr>
          <a:xfrm>
            <a:off x="405000" y="6178320"/>
            <a:ext cx="3444840" cy="471960"/>
          </a:xfrm>
          <a:prstGeom prst="rect">
            <a:avLst/>
          </a:prstGeom>
          <a:ln w="12700">
            <a:noFill/>
          </a:ln>
        </p:spPr>
      </p:pic>
      <p:sp>
        <p:nvSpPr>
          <p:cNvPr id="145" name="Google Shape;300;p21"/>
          <p:cNvSpPr/>
          <p:nvPr/>
        </p:nvSpPr>
        <p:spPr>
          <a:xfrm>
            <a:off x="4611240" y="6363720"/>
            <a:ext cx="3425400" cy="243720"/>
          </a:xfrm>
          <a:prstGeom prst="rect">
            <a:avLst/>
          </a:prstGeom>
          <a:noFill/>
          <a:ln w="1270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600" spc="-1" strike="noStrike">
                <a:solidFill>
                  <a:srgbClr val="a6a6a6"/>
                </a:solidFill>
                <a:latin typeface="Gilroy Light"/>
                <a:ea typeface="Gilroy Light"/>
              </a:rPr>
              <a:t>#страну_меняют_люди</a:t>
            </a:r>
            <a:endParaRPr b="0" lang="ru-RU" sz="1600" spc="-1" strike="noStrike">
              <a:latin typeface="XO Oriel"/>
            </a:endParaRPr>
          </a:p>
        </p:txBody>
      </p:sp>
      <p:sp>
        <p:nvSpPr>
          <p:cNvPr id="146" name="Google Shape;117;p5"/>
          <p:cNvSpPr/>
          <p:nvPr/>
        </p:nvSpPr>
        <p:spPr>
          <a:xfrm flipH="1" rot="10800000">
            <a:off x="335520" y="1392120"/>
            <a:ext cx="11519640" cy="1548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9525">
            <a:solidFill>
              <a:srgbClr val="00b0f0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47" name="Google Shape;84;p1"/>
          <p:cNvSpPr/>
          <p:nvPr/>
        </p:nvSpPr>
        <p:spPr>
          <a:xfrm>
            <a:off x="1916640" y="1758600"/>
            <a:ext cx="9532440" cy="2078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sp>
        <p:nvSpPr>
          <p:cNvPr id="148" name="Google Shape;84;p1"/>
          <p:cNvSpPr/>
          <p:nvPr/>
        </p:nvSpPr>
        <p:spPr>
          <a:xfrm>
            <a:off x="614160" y="1682280"/>
            <a:ext cx="10218240" cy="39934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b">
            <a:noAutofit/>
          </a:bodyPr>
          <a:p>
            <a:pPr marL="457200" indent="-457200" algn="ctr">
              <a:lnSpc>
                <a:spcPct val="100000"/>
              </a:lnSpc>
              <a:buClr>
                <a:srgbClr val="000000"/>
              </a:buClr>
              <a:buFont typeface="Arial"/>
              <a:buAutoNum type="arabicPeriod"/>
            </a:pPr>
            <a:r>
              <a:rPr b="0" lang="ru-RU" sz="2000" spc="-1" strike="noStrike" u="sng">
                <a:solidFill>
                  <a:srgbClr val="000000"/>
                </a:solidFill>
                <a:uFillTx/>
                <a:latin typeface="Arial"/>
                <a:ea typeface="Gilroy Light"/>
              </a:rPr>
              <a:t>Органы власти всех уровней:</a:t>
            </a:r>
            <a:endParaRPr b="0" lang="ru-RU" sz="20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2000" spc="-1" strike="noStrike">
              <a:latin typeface="XO Oriel"/>
            </a:endParaRPr>
          </a:p>
          <a:p>
            <a:pPr marL="343080" indent="-343080" algn="ctr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  <a:ea typeface="Gilroy Light"/>
              </a:rPr>
              <a:t>поселение (координаторы создания кооперативов);</a:t>
            </a:r>
            <a:endParaRPr b="0" lang="ru-RU" sz="2000" spc="-1" strike="noStrike">
              <a:latin typeface="XO Oriel"/>
            </a:endParaRPr>
          </a:p>
          <a:p>
            <a:pPr marL="343080" indent="-343080" algn="ctr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  <a:ea typeface="Gilroy Light"/>
              </a:rPr>
              <a:t>район (куратор создания и оказания поддержки кооперативам);</a:t>
            </a:r>
            <a:endParaRPr b="0" lang="ru-RU" sz="2000" spc="-1" strike="noStrike">
              <a:latin typeface="XO Oriel"/>
            </a:endParaRPr>
          </a:p>
          <a:p>
            <a:pPr marL="343080" indent="-343080" algn="ctr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  <a:ea typeface="Gilroy Light"/>
              </a:rPr>
              <a:t>область (разработка и реализация мероприятий поддержки кооперативов);</a:t>
            </a:r>
            <a:endParaRPr b="0" lang="ru-RU" sz="20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20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  <a:ea typeface="Gilroy Light"/>
              </a:rPr>
              <a:t>              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  <a:ea typeface="Gilroy Light"/>
              </a:rPr>
              <a:t>2. Фермеры, предприниматели; Сельское население;</a:t>
            </a:r>
            <a:endParaRPr b="0" lang="ru-RU" sz="20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20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  <a:ea typeface="Gilroy Light"/>
              </a:rPr>
              <a:t>         </a:t>
            </a:r>
            <a:r>
              <a:rPr b="0" lang="ru-RU" sz="2000" spc="-1" strike="noStrike">
                <a:solidFill>
                  <a:srgbClr val="000000"/>
                </a:solidFill>
                <a:latin typeface="Arial"/>
                <a:ea typeface="Gilroy Light"/>
              </a:rPr>
              <a:t>3.Информационные ресурсы (бумажные и электронные СМИ);</a:t>
            </a:r>
            <a:endParaRPr b="0" lang="ru-RU" sz="20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20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  <a:ea typeface="Gilroy Light"/>
              </a:rPr>
              <a:t>4.Производители и продавцы сельхозтехники, семян и т.д.</a:t>
            </a:r>
            <a:endParaRPr b="0" lang="ru-RU" sz="20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20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2000" spc="-1" strike="noStrike">
              <a:latin typeface="XO Oriel"/>
            </a:endParaRPr>
          </a:p>
        </p:txBody>
      </p:sp>
      <p:pic>
        <p:nvPicPr>
          <p:cNvPr id="149" name="" descr="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0" name="Объект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151" name="Объект 1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1080" cy="108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52" name="PlaceHolder 1"/>
          <p:cNvSpPr>
            <a:spLocks noGrp="1"/>
          </p:cNvSpPr>
          <p:nvPr>
            <p:ph type="title"/>
          </p:nvPr>
        </p:nvSpPr>
        <p:spPr>
          <a:xfrm>
            <a:off x="335880" y="451800"/>
            <a:ext cx="10150920" cy="72576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4800" spc="-1" strike="noStrike" cap="all">
                <a:solidFill>
                  <a:srgbClr val="33a1d8"/>
                </a:solidFill>
                <a:latin typeface="Gilroy Light"/>
                <a:ea typeface="Gilroy Light"/>
              </a:rPr>
              <a:t>Текущая стадия проекта</a:t>
            </a:r>
            <a:endParaRPr b="0" lang="ru-RU" sz="4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3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10515240" cy="435096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rmAutofit/>
          </a:bodyPr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54" name="Изображение" descr="Изображение"/>
          <p:cNvPicPr/>
          <p:nvPr/>
        </p:nvPicPr>
        <p:blipFill>
          <a:blip r:embed="rId3"/>
          <a:stretch/>
        </p:blipFill>
        <p:spPr>
          <a:xfrm>
            <a:off x="9809640" y="424800"/>
            <a:ext cx="2045880" cy="779760"/>
          </a:xfrm>
          <a:prstGeom prst="rect">
            <a:avLst/>
          </a:prstGeom>
          <a:ln w="12700">
            <a:noFill/>
          </a:ln>
        </p:spPr>
      </p:pic>
      <p:pic>
        <p:nvPicPr>
          <p:cNvPr id="155" name="Изображение" descr="Изображение"/>
          <p:cNvPicPr/>
          <p:nvPr/>
        </p:nvPicPr>
        <p:blipFill>
          <a:blip r:embed="rId4"/>
          <a:stretch/>
        </p:blipFill>
        <p:spPr>
          <a:xfrm>
            <a:off x="405000" y="6178320"/>
            <a:ext cx="3444840" cy="471960"/>
          </a:xfrm>
          <a:prstGeom prst="rect">
            <a:avLst/>
          </a:prstGeom>
          <a:ln w="12700">
            <a:noFill/>
          </a:ln>
        </p:spPr>
      </p:pic>
      <p:sp>
        <p:nvSpPr>
          <p:cNvPr id="156" name="Google Shape;300;p21"/>
          <p:cNvSpPr/>
          <p:nvPr/>
        </p:nvSpPr>
        <p:spPr>
          <a:xfrm>
            <a:off x="4611240" y="6363720"/>
            <a:ext cx="3425400" cy="243720"/>
          </a:xfrm>
          <a:prstGeom prst="rect">
            <a:avLst/>
          </a:prstGeom>
          <a:noFill/>
          <a:ln w="1270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600" spc="-1" strike="noStrike">
                <a:solidFill>
                  <a:srgbClr val="a6a6a6"/>
                </a:solidFill>
                <a:latin typeface="Gilroy Light"/>
                <a:ea typeface="Gilroy Light"/>
              </a:rPr>
              <a:t>#страну_меняют_люди</a:t>
            </a:r>
            <a:endParaRPr b="0" lang="ru-RU" sz="1600" spc="-1" strike="noStrike">
              <a:latin typeface="XO Oriel"/>
            </a:endParaRPr>
          </a:p>
        </p:txBody>
      </p:sp>
      <p:sp>
        <p:nvSpPr>
          <p:cNvPr id="157" name="Google Shape;117;p5"/>
          <p:cNvSpPr/>
          <p:nvPr/>
        </p:nvSpPr>
        <p:spPr>
          <a:xfrm flipH="1" rot="10800000">
            <a:off x="335520" y="1392120"/>
            <a:ext cx="11519640" cy="1548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9525">
            <a:solidFill>
              <a:srgbClr val="00b0f0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58" name="Google Shape;84;p1"/>
          <p:cNvSpPr/>
          <p:nvPr/>
        </p:nvSpPr>
        <p:spPr>
          <a:xfrm>
            <a:off x="1329480" y="1625040"/>
            <a:ext cx="9532440" cy="38383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b">
            <a:noAutofit/>
          </a:bodyPr>
          <a:p>
            <a:pPr marL="343080" indent="-343080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1" lang="ru-RU" sz="2800" spc="-1" strike="noStrike">
                <a:solidFill>
                  <a:srgbClr val="000000"/>
                </a:solidFill>
                <a:latin typeface="Arial"/>
                <a:ea typeface="Gilroy Light"/>
              </a:rPr>
              <a:t>Реализуется в Липецкой области с 2013 года</a:t>
            </a:r>
            <a:endParaRPr b="0" lang="ru-RU" sz="28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1" lang="ru-RU" sz="2800" spc="-1" strike="noStrike">
                <a:solidFill>
                  <a:srgbClr val="000000"/>
                </a:solidFill>
                <a:latin typeface="Arial"/>
                <a:ea typeface="Gilroy Light"/>
              </a:rPr>
              <a:t>Опыт  представлялся в министерствах, в Корпорации МСП</a:t>
            </a:r>
            <a:endParaRPr b="0" lang="ru-RU" sz="28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28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0" lang="ru-RU" sz="1600" spc="-1" strike="noStrike" u="sng">
                <a:solidFill>
                  <a:srgbClr val="000000"/>
                </a:solidFill>
                <a:uFillTx/>
                <a:latin typeface="Arial"/>
                <a:ea typeface="Gilroy Light"/>
              </a:rPr>
              <a:t>Информация о достижениях:</a:t>
            </a:r>
            <a:endParaRPr b="0" lang="ru-RU" sz="16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Arial"/>
              </a:rPr>
              <a:t>https://cyberleninka.ru/article/n/razvitie-selskohozyaystvennoy-kooperatsii-v-lipetskoy-oblasti/viewer</a:t>
            </a:r>
            <a:r>
              <a:rPr b="0" lang="ru-RU" sz="1600" spc="-1" strike="noStrike">
                <a:solidFill>
                  <a:srgbClr val="000000"/>
                </a:solidFill>
                <a:latin typeface="Arial"/>
                <a:ea typeface="Arial"/>
              </a:rPr>
              <a:t>;</a:t>
            </a:r>
            <a:endParaRPr b="0" lang="ru-RU" sz="16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Arial"/>
              </a:rPr>
              <a:t>https://cyberleninka.ru/article/n/sovremennoe-sostoyanie-i-perspektivy-razvitiya-selskohozyaystvennoy-kooperatsii/viewer</a:t>
            </a:r>
            <a:r>
              <a:rPr b="0" lang="ru-RU" sz="1600" spc="-1" strike="noStrike">
                <a:solidFill>
                  <a:srgbClr val="000000"/>
                </a:solidFill>
                <a:latin typeface="Arial"/>
                <a:ea typeface="Arial"/>
              </a:rPr>
              <a:t>;</a:t>
            </a:r>
            <a:endParaRPr b="0" lang="ru-RU" sz="16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Gilroy Light"/>
              </a:rPr>
              <a:t>https://cyberleninka.ru/article/n/sovremennoe-sostoyanie-i-perspektivy-razvitiya-selskohozyaystvennoy-potrebitelskoy-kooperatsii-v-lipetskoy-tambovskoy-i-smolenskoy/viewer</a:t>
            </a:r>
            <a:endParaRPr b="0" lang="ru-RU" sz="1600" spc="-1" strike="noStrike">
              <a:latin typeface="XO Oriel"/>
            </a:endParaRPr>
          </a:p>
        </p:txBody>
      </p:sp>
      <p:pic>
        <p:nvPicPr>
          <p:cNvPr id="159" name="" descr="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0" name="Объект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161" name="Объект 1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1080" cy="108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62" name="PlaceHolder 1"/>
          <p:cNvSpPr>
            <a:spLocks noGrp="1"/>
          </p:cNvSpPr>
          <p:nvPr>
            <p:ph type="title"/>
          </p:nvPr>
        </p:nvSpPr>
        <p:spPr>
          <a:xfrm>
            <a:off x="335880" y="451800"/>
            <a:ext cx="10150920" cy="72576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4800" spc="-1" strike="noStrike" cap="all">
                <a:solidFill>
                  <a:srgbClr val="33a1d8"/>
                </a:solidFill>
                <a:latin typeface="Gilroy Light"/>
                <a:ea typeface="Gilroy Light"/>
              </a:rPr>
              <a:t>План реализации проекта</a:t>
            </a:r>
            <a:endParaRPr b="0" lang="ru-RU" sz="4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3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10515240" cy="435096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rmAutofit/>
          </a:bodyPr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64" name="Изображение" descr="Изображение"/>
          <p:cNvPicPr/>
          <p:nvPr/>
        </p:nvPicPr>
        <p:blipFill>
          <a:blip r:embed="rId3"/>
          <a:stretch/>
        </p:blipFill>
        <p:spPr>
          <a:xfrm>
            <a:off x="9809640" y="424800"/>
            <a:ext cx="2045880" cy="779760"/>
          </a:xfrm>
          <a:prstGeom prst="rect">
            <a:avLst/>
          </a:prstGeom>
          <a:ln w="12700">
            <a:noFill/>
          </a:ln>
        </p:spPr>
      </p:pic>
      <p:pic>
        <p:nvPicPr>
          <p:cNvPr id="165" name="Изображение" descr="Изображение"/>
          <p:cNvPicPr/>
          <p:nvPr/>
        </p:nvPicPr>
        <p:blipFill>
          <a:blip r:embed="rId4"/>
          <a:stretch/>
        </p:blipFill>
        <p:spPr>
          <a:xfrm>
            <a:off x="405000" y="6178320"/>
            <a:ext cx="3444840" cy="471960"/>
          </a:xfrm>
          <a:prstGeom prst="rect">
            <a:avLst/>
          </a:prstGeom>
          <a:ln w="12700">
            <a:noFill/>
          </a:ln>
        </p:spPr>
      </p:pic>
      <p:sp>
        <p:nvSpPr>
          <p:cNvPr id="166" name="Google Shape;300;p21"/>
          <p:cNvSpPr/>
          <p:nvPr/>
        </p:nvSpPr>
        <p:spPr>
          <a:xfrm>
            <a:off x="4611240" y="6363720"/>
            <a:ext cx="3425400" cy="243720"/>
          </a:xfrm>
          <a:prstGeom prst="rect">
            <a:avLst/>
          </a:prstGeom>
          <a:noFill/>
          <a:ln w="1270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600" spc="-1" strike="noStrike">
                <a:solidFill>
                  <a:srgbClr val="a6a6a6"/>
                </a:solidFill>
                <a:latin typeface="Gilroy Light"/>
                <a:ea typeface="Gilroy Light"/>
              </a:rPr>
              <a:t>#страну_меняют_люди</a:t>
            </a:r>
            <a:endParaRPr b="0" lang="ru-RU" sz="1600" spc="-1" strike="noStrike">
              <a:latin typeface="XO Oriel"/>
            </a:endParaRPr>
          </a:p>
        </p:txBody>
      </p:sp>
      <p:sp>
        <p:nvSpPr>
          <p:cNvPr id="167" name="Google Shape;117;p5"/>
          <p:cNvSpPr/>
          <p:nvPr/>
        </p:nvSpPr>
        <p:spPr>
          <a:xfrm flipH="1" rot="10800000">
            <a:off x="335520" y="1392120"/>
            <a:ext cx="11519640" cy="1548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9525">
            <a:solidFill>
              <a:srgbClr val="00b0f0"/>
            </a:solidFill>
            <a:round/>
          </a:ln>
        </p:spPr>
        <p:style>
          <a:lnRef idx="0"/>
          <a:fillRef idx="0"/>
          <a:effectRef idx="0"/>
          <a:fontRef idx="minor"/>
        </p:style>
      </p:sp>
      <p:graphicFrame>
        <p:nvGraphicFramePr>
          <p:cNvPr id="168" name="Таблица 11"/>
          <p:cNvGraphicFramePr/>
          <p:nvPr/>
        </p:nvGraphicFramePr>
        <p:xfrm>
          <a:off x="678600" y="2033640"/>
          <a:ext cx="10834560" cy="3921120"/>
        </p:xfrm>
        <a:graphic>
          <a:graphicData uri="http://schemas.openxmlformats.org/drawingml/2006/table">
            <a:tbl>
              <a:tblPr/>
              <a:tblGrid>
                <a:gridCol w="1805760"/>
                <a:gridCol w="1805760"/>
                <a:gridCol w="1812600"/>
                <a:gridCol w="1798560"/>
                <a:gridCol w="1805760"/>
                <a:gridCol w="1806120"/>
              </a:tblGrid>
              <a:tr h="3139560">
                <a:tc>
                  <a:txBody>
                    <a:bodyPr anchor="t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1" lang="ru-RU" sz="1400" spc="-1" strike="noStrike">
                          <a:solidFill>
                            <a:srgbClr val="000000"/>
                          </a:solidFill>
                          <a:latin typeface="Arial"/>
                          <a:ea typeface="Arial"/>
                        </a:rPr>
                        <a:t>Проведение информационной кампании в заинтересовавшихся регионах</a:t>
                      </a:r>
                      <a:endParaRPr b="0" lang="ru-RU" sz="1400" spc="-1" strike="noStrike">
                        <a:latin typeface="XO Oriel"/>
                      </a:endParaRPr>
                    </a:p>
                  </a:txBody>
                  <a:tcPr anchor="t" marL="91440" marR="91440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12240">
                      <a:solidFill>
                        <a:srgbClr val="ffffff"/>
                      </a:solidFill>
                    </a:lnT>
                    <a:lnB w="38160">
                      <a:solidFill>
                        <a:srgbClr val="ffffff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 anchor="t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1" lang="ru-RU" sz="1400" spc="-1" strike="noStrike">
                          <a:solidFill>
                            <a:srgbClr val="000000"/>
                          </a:solidFill>
                          <a:latin typeface="Arial"/>
                          <a:ea typeface="Arial"/>
                        </a:rPr>
                        <a:t>Подготовка и согласование мероприятий поддержки кооперативов в заинтересован-ных регионах </a:t>
                      </a:r>
                      <a:endParaRPr b="0" lang="ru-RU" sz="1400" spc="-1" strike="noStrike">
                        <a:latin typeface="XO Oriel"/>
                      </a:endParaRPr>
                    </a:p>
                  </a:txBody>
                  <a:tcPr anchor="t" marL="91440" marR="91440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12240">
                      <a:solidFill>
                        <a:srgbClr val="ffffff"/>
                      </a:solidFill>
                    </a:lnT>
                    <a:lnB w="38160">
                      <a:solidFill>
                        <a:srgbClr val="ffffff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 anchor="t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1" lang="ru-RU" sz="1400" spc="-1" strike="noStrike">
                          <a:solidFill>
                            <a:srgbClr val="000000"/>
                          </a:solidFill>
                          <a:latin typeface="Arial"/>
                          <a:ea typeface="Arial"/>
                        </a:rPr>
                        <a:t>Утверждение нормативных документов по мерам поддержки кооперативов в заинтересован-ных регионах</a:t>
                      </a:r>
                      <a:endParaRPr b="0" lang="ru-RU" sz="1400" spc="-1" strike="noStrike">
                        <a:latin typeface="XO Oriel"/>
                      </a:endParaRPr>
                    </a:p>
                  </a:txBody>
                  <a:tcPr anchor="t" marL="91440" marR="91440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12240">
                      <a:solidFill>
                        <a:srgbClr val="ffffff"/>
                      </a:solidFill>
                    </a:lnT>
                    <a:lnB w="38160">
                      <a:solidFill>
                        <a:srgbClr val="ffffff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 anchor="t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  <a:tabLst>
                          <a:tab algn="l" pos="0"/>
                        </a:tabLst>
                      </a:pPr>
                      <a:r>
                        <a:rPr b="1" lang="ru-RU" sz="1400" spc="-1" strike="noStrike">
                          <a:solidFill>
                            <a:srgbClr val="000000"/>
                          </a:solidFill>
                          <a:latin typeface="Arial"/>
                          <a:ea typeface="Arial"/>
                        </a:rPr>
                        <a:t>  </a:t>
                      </a:r>
                      <a:r>
                        <a:rPr b="1" lang="ru-RU" sz="1400" spc="-1" strike="noStrike">
                          <a:solidFill>
                            <a:srgbClr val="000000"/>
                          </a:solidFill>
                          <a:latin typeface="Arial"/>
                          <a:ea typeface="Arial"/>
                        </a:rPr>
                        <a:t>Проведение отборов кооперативов для получения поддержки</a:t>
                      </a:r>
                      <a:endParaRPr b="0" lang="ru-RU" sz="1400" spc="-1" strike="noStrike">
                        <a:latin typeface="XO Oriel"/>
                      </a:endParaRPr>
                    </a:p>
                  </a:txBody>
                  <a:tcPr anchor="t" marL="91440" marR="91440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12240">
                      <a:solidFill>
                        <a:srgbClr val="ffffff"/>
                      </a:solidFill>
                    </a:lnT>
                    <a:lnB w="38160">
                      <a:solidFill>
                        <a:srgbClr val="ffffff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 anchor="t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1" lang="ru-RU" sz="1400" spc="-1" strike="noStrike">
                          <a:solidFill>
                            <a:srgbClr val="000000"/>
                          </a:solidFill>
                          <a:latin typeface="Arial"/>
                          <a:ea typeface="Arial"/>
                        </a:rPr>
                        <a:t>Предоставление средств государственной поддержки кооперативам, участвующих в отборах</a:t>
                      </a:r>
                      <a:endParaRPr b="0" lang="ru-RU" sz="1400" spc="-1" strike="noStrike">
                        <a:latin typeface="XO Oriel"/>
                      </a:endParaRPr>
                    </a:p>
                  </a:txBody>
                  <a:tcPr anchor="t" marL="91440" marR="91440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12240">
                      <a:solidFill>
                        <a:srgbClr val="ffffff"/>
                      </a:solidFill>
                    </a:lnT>
                    <a:lnB w="38160">
                      <a:solidFill>
                        <a:srgbClr val="ffffff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 anchor="t">
                      <a:noAutofit/>
                    </a:bodyPr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b="1" lang="ru-RU" sz="1400" spc="-1" strike="noStrike">
                          <a:solidFill>
                            <a:srgbClr val="000000"/>
                          </a:solidFill>
                          <a:latin typeface="Arial"/>
                          <a:ea typeface="Arial"/>
                        </a:rPr>
                        <a:t>Создание не менее 15 кооперативов в заинтересован-ных регионах</a:t>
                      </a:r>
                      <a:endParaRPr b="0" lang="ru-RU" sz="1400" spc="-1" strike="noStrike">
                        <a:latin typeface="XO Oriel"/>
                      </a:endParaRPr>
                    </a:p>
                  </a:txBody>
                  <a:tcPr anchor="t" marL="91440" marR="91440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12240">
                      <a:solidFill>
                        <a:srgbClr val="ffffff"/>
                      </a:solidFill>
                    </a:lnT>
                    <a:lnB w="38160">
                      <a:solidFill>
                        <a:srgbClr val="ffffff"/>
                      </a:solidFill>
                    </a:lnB>
                    <a:solidFill>
                      <a:srgbClr val="f2f2f2"/>
                    </a:solidFill>
                  </a:tcPr>
                </a:tc>
              </a:tr>
              <a:tr h="781560">
                <a:tc>
                  <a:txBody>
                    <a:bodyPr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  <a:buNone/>
                      </a:pPr>
                      <a:r>
                        <a:rPr b="0" lang="ru-RU" sz="1400" spc="-1" strike="noStrike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</a:rPr>
                        <a:t>Июль</a:t>
                      </a:r>
                      <a:endParaRPr b="0" lang="ru-RU" sz="14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12240">
                      <a:solidFill>
                        <a:srgbClr val="ffffff"/>
                      </a:solidFill>
                    </a:lnT>
                    <a:lnB w="12240">
                      <a:solidFill>
                        <a:srgbClr val="ffffff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  <a:buNone/>
                      </a:pPr>
                      <a:r>
                        <a:rPr b="0" lang="ru-RU" sz="1400" spc="-1" strike="noStrike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</a:rPr>
                        <a:t>Август </a:t>
                      </a:r>
                      <a:endParaRPr b="0" lang="ru-RU" sz="14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12240">
                      <a:solidFill>
                        <a:srgbClr val="ffffff"/>
                      </a:solidFill>
                    </a:lnT>
                    <a:lnB w="12240">
                      <a:solidFill>
                        <a:srgbClr val="ffffff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  <a:buNone/>
                      </a:pPr>
                      <a:r>
                        <a:rPr b="0" lang="ru-RU" sz="1400" spc="-1" strike="noStrike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</a:rPr>
                        <a:t>Сентябрь </a:t>
                      </a:r>
                      <a:endParaRPr b="0" lang="ru-RU" sz="14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12240">
                      <a:solidFill>
                        <a:srgbClr val="ffffff"/>
                      </a:solidFill>
                    </a:lnT>
                    <a:lnB w="12240">
                      <a:solidFill>
                        <a:srgbClr val="ffffff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  <a:buNone/>
                      </a:pPr>
                      <a:r>
                        <a:rPr b="0" lang="ru-RU" sz="1400" spc="-1" strike="noStrike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</a:rPr>
                        <a:t>Октябрь </a:t>
                      </a:r>
                      <a:endParaRPr b="0" lang="ru-RU" sz="14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12240">
                      <a:solidFill>
                        <a:srgbClr val="ffffff"/>
                      </a:solidFill>
                    </a:lnT>
                    <a:lnB w="12240">
                      <a:solidFill>
                        <a:srgbClr val="ffffff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  <a:buNone/>
                      </a:pPr>
                      <a:r>
                        <a:rPr b="0" lang="ru-RU" sz="1400" spc="-1" strike="noStrike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</a:rPr>
                        <a:t>Ноябрь </a:t>
                      </a:r>
                      <a:endParaRPr b="0" lang="ru-RU" sz="14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12240">
                      <a:solidFill>
                        <a:srgbClr val="ffffff"/>
                      </a:solidFill>
                    </a:lnT>
                    <a:lnB w="12240">
                      <a:solidFill>
                        <a:srgbClr val="ffffff"/>
                      </a:solidFill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 anchor="ctr">
                      <a:noAutofit/>
                    </a:bodyPr>
                    <a:p>
                      <a:pPr algn="ctr">
                        <a:lnSpc>
                          <a:spcPct val="100000"/>
                        </a:lnSpc>
                        <a:buNone/>
                      </a:pPr>
                      <a:r>
                        <a:rPr b="0" lang="ru-RU" sz="1400" spc="-1" strike="noStrike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</a:rPr>
                        <a:t>Декабрь </a:t>
                      </a:r>
                      <a:endParaRPr b="0" lang="ru-RU" sz="1400" spc="-1" strike="noStrike">
                        <a:latin typeface="XO Oriel"/>
                      </a:endParaRPr>
                    </a:p>
                  </a:txBody>
                  <a:tcPr anchor="ctr" marL="91440" marR="91440">
                    <a:lnL w="12240">
                      <a:solidFill>
                        <a:srgbClr val="ffffff"/>
                      </a:solidFill>
                    </a:lnL>
                    <a:lnR w="12240">
                      <a:solidFill>
                        <a:srgbClr val="ffffff"/>
                      </a:solidFill>
                    </a:lnR>
                    <a:lnT w="12240">
                      <a:solidFill>
                        <a:srgbClr val="ffffff"/>
                      </a:solidFill>
                    </a:lnT>
                    <a:lnB w="12240">
                      <a:solidFill>
                        <a:srgbClr val="ffffff"/>
                      </a:solidFill>
                    </a:lnB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  <p:sp>
        <p:nvSpPr>
          <p:cNvPr id="169" name="TextBox 12"/>
          <p:cNvSpPr/>
          <p:nvPr/>
        </p:nvSpPr>
        <p:spPr>
          <a:xfrm>
            <a:off x="4603680" y="1478520"/>
            <a:ext cx="2984400" cy="4561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>
              <a:lnSpc>
                <a:spcPct val="100000"/>
              </a:lnSpc>
              <a:buNone/>
            </a:pPr>
            <a:r>
              <a:rPr b="1" lang="ru-RU" sz="2400" spc="-1" strike="noStrike" cap="all">
                <a:solidFill>
                  <a:srgbClr val="33a1d8"/>
                </a:solidFill>
                <a:latin typeface="Gilroy Light"/>
                <a:ea typeface="Gilroy Light"/>
              </a:rPr>
              <a:t>2022 год</a:t>
            </a:r>
            <a:endParaRPr b="0" lang="ru-RU" sz="2400" spc="-1" strike="noStrike">
              <a:latin typeface="XO Oriel"/>
            </a:endParaRPr>
          </a:p>
        </p:txBody>
      </p:sp>
      <p:pic>
        <p:nvPicPr>
          <p:cNvPr id="170" name="" descr="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1" name="Объект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p:oleObj progId="TCLayout.ActiveDocument.1" r:id="rId1" spid="">
              <p:embed/>
              <p:pic>
                <p:nvPicPr>
                  <p:cNvPr id="172" name="Объект 1" descr=""/>
                  <p:cNvPicPr/>
                  <p:nvPr/>
                </p:nvPicPr>
                <p:blipFill>
                  <a:blip r:embed="rId2"/>
                  <a:stretch/>
                </p:blipFill>
                <p:spPr>
                  <a:xfrm>
                    <a:off x="1440" y="1440"/>
                    <a:ext cx="1080" cy="108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73" name="PlaceHolder 1"/>
          <p:cNvSpPr>
            <a:spLocks noGrp="1"/>
          </p:cNvSpPr>
          <p:nvPr>
            <p:ph type="title"/>
          </p:nvPr>
        </p:nvSpPr>
        <p:spPr>
          <a:xfrm>
            <a:off x="335880" y="451800"/>
            <a:ext cx="10150920" cy="72576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4800" spc="-1" strike="noStrike" cap="all">
                <a:solidFill>
                  <a:srgbClr val="33a1d8"/>
                </a:solidFill>
                <a:latin typeface="Gilroy Light"/>
                <a:ea typeface="Gilroy Light"/>
              </a:rPr>
              <a:t>Стоимость проекта</a:t>
            </a:r>
            <a:endParaRPr b="0" lang="ru-RU" sz="4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4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10515240" cy="435096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rmAutofit/>
          </a:bodyPr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15000"/>
              </a:lnSpc>
              <a:buNone/>
              <a:tabLst>
                <a:tab algn="l" pos="0"/>
              </a:tabLst>
            </a:pP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75" name="Изображение" descr="Изображение"/>
          <p:cNvPicPr/>
          <p:nvPr/>
        </p:nvPicPr>
        <p:blipFill>
          <a:blip r:embed="rId3"/>
          <a:stretch/>
        </p:blipFill>
        <p:spPr>
          <a:xfrm>
            <a:off x="9809640" y="424800"/>
            <a:ext cx="2045880" cy="779760"/>
          </a:xfrm>
          <a:prstGeom prst="rect">
            <a:avLst/>
          </a:prstGeom>
          <a:ln w="12700">
            <a:noFill/>
          </a:ln>
        </p:spPr>
      </p:pic>
      <p:pic>
        <p:nvPicPr>
          <p:cNvPr id="176" name="Изображение" descr="Изображение"/>
          <p:cNvPicPr/>
          <p:nvPr/>
        </p:nvPicPr>
        <p:blipFill>
          <a:blip r:embed="rId4"/>
          <a:stretch/>
        </p:blipFill>
        <p:spPr>
          <a:xfrm>
            <a:off x="405000" y="6178320"/>
            <a:ext cx="3444840" cy="471960"/>
          </a:xfrm>
          <a:prstGeom prst="rect">
            <a:avLst/>
          </a:prstGeom>
          <a:ln w="12700">
            <a:noFill/>
          </a:ln>
        </p:spPr>
      </p:pic>
      <p:sp>
        <p:nvSpPr>
          <p:cNvPr id="177" name="Google Shape;300;p21"/>
          <p:cNvSpPr/>
          <p:nvPr/>
        </p:nvSpPr>
        <p:spPr>
          <a:xfrm>
            <a:off x="4611240" y="6363720"/>
            <a:ext cx="3425400" cy="243720"/>
          </a:xfrm>
          <a:prstGeom prst="rect">
            <a:avLst/>
          </a:prstGeom>
          <a:noFill/>
          <a:ln w="1270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600" spc="-1" strike="noStrike">
                <a:solidFill>
                  <a:srgbClr val="a6a6a6"/>
                </a:solidFill>
                <a:latin typeface="Gilroy Light"/>
                <a:ea typeface="Gilroy Light"/>
              </a:rPr>
              <a:t>#страну_меняют_люди</a:t>
            </a:r>
            <a:endParaRPr b="0" lang="ru-RU" sz="1600" spc="-1" strike="noStrike">
              <a:latin typeface="XO Oriel"/>
            </a:endParaRPr>
          </a:p>
        </p:txBody>
      </p:sp>
      <p:sp>
        <p:nvSpPr>
          <p:cNvPr id="178" name="Google Shape;117;p5"/>
          <p:cNvSpPr/>
          <p:nvPr/>
        </p:nvSpPr>
        <p:spPr>
          <a:xfrm flipH="1" rot="10800000">
            <a:off x="335520" y="1392120"/>
            <a:ext cx="11519640" cy="1548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9525">
            <a:solidFill>
              <a:srgbClr val="00b0f0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179" name="Google Shape;84;p1"/>
          <p:cNvSpPr/>
          <p:nvPr/>
        </p:nvSpPr>
        <p:spPr>
          <a:xfrm>
            <a:off x="621720" y="1830240"/>
            <a:ext cx="10948320" cy="30556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anchor="b">
            <a:noAutofit/>
          </a:bodyPr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r>
              <a:rPr b="1" lang="ru-RU" sz="1800" spc="-1" strike="noStrike" u="sng">
                <a:solidFill>
                  <a:srgbClr val="000000"/>
                </a:solidFill>
                <a:uFillTx/>
                <a:latin typeface="Arial"/>
                <a:ea typeface="Gilroy Light"/>
              </a:rPr>
              <a:t>Средства господдержки на 2022 год:</a:t>
            </a: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Субсидии муниципальным образованиям на поддержку кооперативов 14,7 млн.руб.</a:t>
            </a:r>
            <a:endParaRPr b="0" lang="ru-RU" sz="18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buClr>
                <a:srgbClr val="000000"/>
              </a:buClr>
              <a:buFont typeface="Arial"/>
              <a:buChar char="-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Субсидии на организацию центра кооперативов -5,5 млн.руб.</a:t>
            </a:r>
            <a:endParaRPr b="0" lang="ru-RU" sz="18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r>
              <a:rPr b="1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За период 2014-2021 год в Липецкой области направлено</a:t>
            </a:r>
            <a:r>
              <a:rPr b="1" lang="en-US" sz="1800" spc="-1" strike="noStrike">
                <a:solidFill>
                  <a:srgbClr val="000000"/>
                </a:solidFill>
                <a:latin typeface="Arial"/>
                <a:ea typeface="Gilroy Light"/>
              </a:rPr>
              <a:t>  </a:t>
            </a:r>
            <a:r>
              <a:rPr b="1" lang="ru-RU" sz="1800" spc="-1" strike="noStrike">
                <a:solidFill>
                  <a:srgbClr val="000000"/>
                </a:solidFill>
                <a:latin typeface="Arial"/>
                <a:ea typeface="Gilroy Light"/>
              </a:rPr>
              <a:t>свыше 250 млн.руб. средств государственной поддержки.</a:t>
            </a:r>
            <a:endParaRPr b="0" lang="ru-RU" sz="18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</p:txBody>
      </p:sp>
      <p:pic>
        <p:nvPicPr>
          <p:cNvPr id="180" name="" descr="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42</TotalTime>
  <Application>Редактор_презентаций/2.2.0.0$Windows_x86 LibreOffice_project/619128f23ebf8e7867bcca7f08c234096b5d1278</Application>
  <AppVersion>15.0000</AppVersion>
  <Words>870</Words>
  <Paragraphs>182</Paragraphs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9-02-20T19:21:15Z</dcterms:created>
  <dc:creator>emz.metall@gmail.com</dc:creator>
  <dc:description/>
  <dc:language>ru-RU</dc:language>
  <cp:lastModifiedBy/>
  <dcterms:modified xsi:type="dcterms:W3CDTF">2023-01-23T14:10:20Z</dcterms:modified>
  <cp:revision>89</cp:revision>
  <dc:subject/>
  <dc:title>Название проекта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">
    <vt:i4>12</vt:i4>
  </property>
  <property fmtid="{D5CDD505-2E9C-101B-9397-08002B2CF9AE}" pid="3" name="PresentationFormat">
    <vt:lpwstr>Произвольный</vt:lpwstr>
  </property>
  <property fmtid="{D5CDD505-2E9C-101B-9397-08002B2CF9AE}" pid="4" name="Slides">
    <vt:i4>12</vt:i4>
  </property>
</Properties>
</file>